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69" r:id="rId5"/>
  </p:sldMasterIdLst>
  <p:notesMasterIdLst>
    <p:notesMasterId r:id="rId12"/>
  </p:notesMasterIdLst>
  <p:sldIdLst>
    <p:sldId id="7308" r:id="rId6"/>
    <p:sldId id="2147375527" r:id="rId7"/>
    <p:sldId id="2147375526" r:id="rId8"/>
    <p:sldId id="2147375528" r:id="rId9"/>
    <p:sldId id="2147375529" r:id="rId10"/>
    <p:sldId id="2147375530" r:id="rId1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CECE1"/>
    <a:srgbClr val="68DDF8"/>
    <a:srgbClr val="D2CD03"/>
    <a:srgbClr val="D9D9D9"/>
    <a:srgbClr val="FCE9DC"/>
    <a:srgbClr val="7FE2F9"/>
    <a:srgbClr val="CBA9E5"/>
    <a:srgbClr val="7030A0"/>
    <a:srgbClr val="F6BD95"/>
    <a:srgbClr val="C7DDF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C3E6937-796B-4002-8247-49CEBCF91D1B}" v="2" dt="2022-11-08T06:51:43.517"/>
    <p1510:client id="{63212C41-12C6-4D1F-99E8-37C9AE725488}" v="9" dt="2022-08-09T06:35:18.610"/>
    <p1510:client id="{BC1B6D7E-88A1-455F-88F8-97480D703C32}" v="2" dt="2022-11-04T04:49:20.559"/>
    <p1510:client id="{BD0472BB-4B57-46D1-9BC8-C0DFF953D68F}" v="1" dt="2022-11-02T11:16:45.586"/>
    <p1510:client id="{F78BCF18-0D79-4D77-9FB4-651EB451B07A}" v="1" dt="2022-11-04T10:41:35.58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presProps" Target="presProps.xml"/><Relationship Id="rId18" Type="http://schemas.microsoft.com/office/2015/10/relationships/revisionInfo" Target="revisionInfo.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notesMaster" Target="notesMasters/notesMaster1.xml"/><Relationship Id="rId17"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theme" Target="theme/theme1.xml"/><Relationship Id="rId10" Type="http://schemas.openxmlformats.org/officeDocument/2006/relationships/slide" Target="slides/slide5.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rasad, Gopal Krishna" userId="902836b1-93ce-4c0c-9edf-1b392aafe94b" providerId="ADAL" clId="{63212C41-12C6-4D1F-99E8-37C9AE725488}"/>
    <pc:docChg chg="undo custSel addSld delSld modSld">
      <pc:chgData name="Prasad, Gopal Krishna" userId="902836b1-93ce-4c0c-9edf-1b392aafe94b" providerId="ADAL" clId="{63212C41-12C6-4D1F-99E8-37C9AE725488}" dt="2022-08-09T08:04:52.613" v="1580" actId="2696"/>
      <pc:docMkLst>
        <pc:docMk/>
      </pc:docMkLst>
      <pc:sldChg chg="delSp del">
        <pc:chgData name="Prasad, Gopal Krishna" userId="902836b1-93ce-4c0c-9edf-1b392aafe94b" providerId="ADAL" clId="{63212C41-12C6-4D1F-99E8-37C9AE725488}" dt="2022-08-09T08:04:52.613" v="1580" actId="2696"/>
        <pc:sldMkLst>
          <pc:docMk/>
          <pc:sldMk cId="814540178" sldId="7202"/>
        </pc:sldMkLst>
        <pc:picChg chg="del">
          <ac:chgData name="Prasad, Gopal Krishna" userId="902836b1-93ce-4c0c-9edf-1b392aafe94b" providerId="ADAL" clId="{63212C41-12C6-4D1F-99E8-37C9AE725488}" dt="2022-08-08T13:27:08.329" v="0"/>
          <ac:picMkLst>
            <pc:docMk/>
            <pc:sldMk cId="814540178" sldId="7202"/>
            <ac:picMk id="2" creationId="{97329FEB-45AA-4C7B-8541-C4A8EB14C1A8}"/>
          </ac:picMkLst>
        </pc:picChg>
      </pc:sldChg>
      <pc:sldChg chg="addSp delSp modSp mod">
        <pc:chgData name="Prasad, Gopal Krishna" userId="902836b1-93ce-4c0c-9edf-1b392aafe94b" providerId="ADAL" clId="{63212C41-12C6-4D1F-99E8-37C9AE725488}" dt="2022-08-09T07:59:44.307" v="1480" actId="20577"/>
        <pc:sldMkLst>
          <pc:docMk/>
          <pc:sldMk cId="2495710441" sldId="2147375526"/>
        </pc:sldMkLst>
        <pc:spChg chg="mod">
          <ac:chgData name="Prasad, Gopal Krishna" userId="902836b1-93ce-4c0c-9edf-1b392aafe94b" providerId="ADAL" clId="{63212C41-12C6-4D1F-99E8-37C9AE725488}" dt="2022-08-09T06:54:52.891" v="1075" actId="14100"/>
          <ac:spMkLst>
            <pc:docMk/>
            <pc:sldMk cId="2495710441" sldId="2147375526"/>
            <ac:spMk id="3" creationId="{00000000-0000-0000-0000-000000000000}"/>
          </ac:spMkLst>
        </pc:spChg>
        <pc:spChg chg="mod">
          <ac:chgData name="Prasad, Gopal Krishna" userId="902836b1-93ce-4c0c-9edf-1b392aafe94b" providerId="ADAL" clId="{63212C41-12C6-4D1F-99E8-37C9AE725488}" dt="2022-08-09T07:59:44.307" v="1480" actId="20577"/>
          <ac:spMkLst>
            <pc:docMk/>
            <pc:sldMk cId="2495710441" sldId="2147375526"/>
            <ac:spMk id="6" creationId="{C7C054F1-0260-4B18-B4F7-2B03906013D2}"/>
          </ac:spMkLst>
        </pc:spChg>
        <pc:spChg chg="mod">
          <ac:chgData name="Prasad, Gopal Krishna" userId="902836b1-93ce-4c0c-9edf-1b392aafe94b" providerId="ADAL" clId="{63212C41-12C6-4D1F-99E8-37C9AE725488}" dt="2022-08-09T06:39:20.189" v="597" actId="20577"/>
          <ac:spMkLst>
            <pc:docMk/>
            <pc:sldMk cId="2495710441" sldId="2147375526"/>
            <ac:spMk id="21" creationId="{B3AA87E3-CBDC-4B14-B7B3-8120F1D55DD6}"/>
          </ac:spMkLst>
        </pc:spChg>
        <pc:spChg chg="mod">
          <ac:chgData name="Prasad, Gopal Krishna" userId="902836b1-93ce-4c0c-9edf-1b392aafe94b" providerId="ADAL" clId="{63212C41-12C6-4D1F-99E8-37C9AE725488}" dt="2022-08-09T05:39:17.132" v="542" actId="21"/>
          <ac:spMkLst>
            <pc:docMk/>
            <pc:sldMk cId="2495710441" sldId="2147375526"/>
            <ac:spMk id="36" creationId="{962628C8-C0A5-4B9D-9656-8287E3C42C87}"/>
          </ac:spMkLst>
        </pc:spChg>
        <pc:grpChg chg="del">
          <ac:chgData name="Prasad, Gopal Krishna" userId="902836b1-93ce-4c0c-9edf-1b392aafe94b" providerId="ADAL" clId="{63212C41-12C6-4D1F-99E8-37C9AE725488}" dt="2022-08-09T05:39:05.414" v="541" actId="478"/>
          <ac:grpSpMkLst>
            <pc:docMk/>
            <pc:sldMk cId="2495710441" sldId="2147375526"/>
            <ac:grpSpMk id="80" creationId="{C8E90774-B4B4-4AD9-A92E-EC1D6083EA2E}"/>
          </ac:grpSpMkLst>
        </pc:grpChg>
        <pc:picChg chg="del">
          <ac:chgData name="Prasad, Gopal Krishna" userId="902836b1-93ce-4c0c-9edf-1b392aafe94b" providerId="ADAL" clId="{63212C41-12C6-4D1F-99E8-37C9AE725488}" dt="2022-08-09T05:38:59.511" v="539" actId="478"/>
          <ac:picMkLst>
            <pc:docMk/>
            <pc:sldMk cId="2495710441" sldId="2147375526"/>
            <ac:picMk id="26" creationId="{E7D865CE-2F10-48CC-BC1E-8627DF0488E2}"/>
          </ac:picMkLst>
        </pc:picChg>
        <pc:picChg chg="del">
          <ac:chgData name="Prasad, Gopal Krishna" userId="902836b1-93ce-4c0c-9edf-1b392aafe94b" providerId="ADAL" clId="{63212C41-12C6-4D1F-99E8-37C9AE725488}" dt="2022-08-09T05:38:57.742" v="538" actId="478"/>
          <ac:picMkLst>
            <pc:docMk/>
            <pc:sldMk cId="2495710441" sldId="2147375526"/>
            <ac:picMk id="30" creationId="{46CA53D7-C4BD-405C-BC67-8070547B212D}"/>
          </ac:picMkLst>
        </pc:picChg>
        <pc:picChg chg="del">
          <ac:chgData name="Prasad, Gopal Krishna" userId="902836b1-93ce-4c0c-9edf-1b392aafe94b" providerId="ADAL" clId="{63212C41-12C6-4D1F-99E8-37C9AE725488}" dt="2022-08-09T05:39:01.142" v="540" actId="478"/>
          <ac:picMkLst>
            <pc:docMk/>
            <pc:sldMk cId="2495710441" sldId="2147375526"/>
            <ac:picMk id="31" creationId="{2A8A6C95-7A59-4771-A19A-D51151BA3994}"/>
          </ac:picMkLst>
        </pc:picChg>
        <pc:picChg chg="add mod">
          <ac:chgData name="Prasad, Gopal Krishna" userId="902836b1-93ce-4c0c-9edf-1b392aafe94b" providerId="ADAL" clId="{63212C41-12C6-4D1F-99E8-37C9AE725488}" dt="2022-08-09T05:39:57" v="547" actId="14100"/>
          <ac:picMkLst>
            <pc:docMk/>
            <pc:sldMk cId="2495710441" sldId="2147375526"/>
            <ac:picMk id="39" creationId="{5AB5C51B-C856-4C12-BB75-AC17E93180FA}"/>
          </ac:picMkLst>
        </pc:picChg>
        <pc:picChg chg="add mod">
          <ac:chgData name="Prasad, Gopal Krishna" userId="902836b1-93ce-4c0c-9edf-1b392aafe94b" providerId="ADAL" clId="{63212C41-12C6-4D1F-99E8-37C9AE725488}" dt="2022-08-09T05:40:26.504" v="552" actId="14100"/>
          <ac:picMkLst>
            <pc:docMk/>
            <pc:sldMk cId="2495710441" sldId="2147375526"/>
            <ac:picMk id="40" creationId="{2BE18297-BBE6-477B-B03C-39D230A6760A}"/>
          </ac:picMkLst>
        </pc:picChg>
        <pc:cxnChg chg="mod">
          <ac:chgData name="Prasad, Gopal Krishna" userId="902836b1-93ce-4c0c-9edf-1b392aafe94b" providerId="ADAL" clId="{63212C41-12C6-4D1F-99E8-37C9AE725488}" dt="2022-08-09T05:39:05.414" v="541" actId="478"/>
          <ac:cxnSpMkLst>
            <pc:docMk/>
            <pc:sldMk cId="2495710441" sldId="2147375526"/>
            <ac:cxnSpMk id="96" creationId="{178CCAAE-B1B9-44BE-B877-F93F34B57C14}"/>
          </ac:cxnSpMkLst>
        </pc:cxnChg>
        <pc:cxnChg chg="mod">
          <ac:chgData name="Prasad, Gopal Krishna" userId="902836b1-93ce-4c0c-9edf-1b392aafe94b" providerId="ADAL" clId="{63212C41-12C6-4D1F-99E8-37C9AE725488}" dt="2022-08-09T05:39:05.414" v="541" actId="478"/>
          <ac:cxnSpMkLst>
            <pc:docMk/>
            <pc:sldMk cId="2495710441" sldId="2147375526"/>
            <ac:cxnSpMk id="97" creationId="{95F43F2F-B515-42A5-B49B-98F02D69B496}"/>
          </ac:cxnSpMkLst>
        </pc:cxnChg>
      </pc:sldChg>
      <pc:sldChg chg="modSp add mod">
        <pc:chgData name="Prasad, Gopal Krishna" userId="902836b1-93ce-4c0c-9edf-1b392aafe94b" providerId="ADAL" clId="{63212C41-12C6-4D1F-99E8-37C9AE725488}" dt="2022-08-08T13:28:44.461" v="52" actId="14100"/>
        <pc:sldMkLst>
          <pc:docMk/>
          <pc:sldMk cId="1039370650" sldId="2147375527"/>
        </pc:sldMkLst>
        <pc:spChg chg="mod">
          <ac:chgData name="Prasad, Gopal Krishna" userId="902836b1-93ce-4c0c-9edf-1b392aafe94b" providerId="ADAL" clId="{63212C41-12C6-4D1F-99E8-37C9AE725488}" dt="2022-08-08T13:28:44.461" v="52" actId="14100"/>
          <ac:spMkLst>
            <pc:docMk/>
            <pc:sldMk cId="1039370650" sldId="2147375527"/>
            <ac:spMk id="27" creationId="{6876003B-0341-4B8D-B76F-4550511C23C8}"/>
          </ac:spMkLst>
        </pc:spChg>
        <pc:spChg chg="mod">
          <ac:chgData name="Prasad, Gopal Krishna" userId="902836b1-93ce-4c0c-9edf-1b392aafe94b" providerId="ADAL" clId="{63212C41-12C6-4D1F-99E8-37C9AE725488}" dt="2022-08-08T13:28:34.005" v="49" actId="20577"/>
          <ac:spMkLst>
            <pc:docMk/>
            <pc:sldMk cId="1039370650" sldId="2147375527"/>
            <ac:spMk id="42" creationId="{EB48F62D-5840-4596-B8C0-96C77CABA720}"/>
          </ac:spMkLst>
        </pc:spChg>
      </pc:sldChg>
      <pc:sldChg chg="addSp delSp modSp add mod">
        <pc:chgData name="Prasad, Gopal Krishna" userId="902836b1-93ce-4c0c-9edf-1b392aafe94b" providerId="ADAL" clId="{63212C41-12C6-4D1F-99E8-37C9AE725488}" dt="2022-08-09T08:00:45.219" v="1492" actId="20577"/>
        <pc:sldMkLst>
          <pc:docMk/>
          <pc:sldMk cId="1717976653" sldId="2147375528"/>
        </pc:sldMkLst>
        <pc:spChg chg="mod">
          <ac:chgData name="Prasad, Gopal Krishna" userId="902836b1-93ce-4c0c-9edf-1b392aafe94b" providerId="ADAL" clId="{63212C41-12C6-4D1F-99E8-37C9AE725488}" dt="2022-08-09T08:00:14.199" v="1487" actId="14100"/>
          <ac:spMkLst>
            <pc:docMk/>
            <pc:sldMk cId="1717976653" sldId="2147375528"/>
            <ac:spMk id="3" creationId="{00000000-0000-0000-0000-000000000000}"/>
          </ac:spMkLst>
        </pc:spChg>
        <pc:spChg chg="mod">
          <ac:chgData name="Prasad, Gopal Krishna" userId="902836b1-93ce-4c0c-9edf-1b392aafe94b" providerId="ADAL" clId="{63212C41-12C6-4D1F-99E8-37C9AE725488}" dt="2022-08-09T08:00:45.219" v="1492" actId="20577"/>
          <ac:spMkLst>
            <pc:docMk/>
            <pc:sldMk cId="1717976653" sldId="2147375528"/>
            <ac:spMk id="6" creationId="{C7C054F1-0260-4B18-B4F7-2B03906013D2}"/>
          </ac:spMkLst>
        </pc:spChg>
        <pc:spChg chg="mod">
          <ac:chgData name="Prasad, Gopal Krishna" userId="902836b1-93ce-4c0c-9edf-1b392aafe94b" providerId="ADAL" clId="{63212C41-12C6-4D1F-99E8-37C9AE725488}" dt="2022-08-09T06:54:27.508" v="1073" actId="1076"/>
          <ac:spMkLst>
            <pc:docMk/>
            <pc:sldMk cId="1717976653" sldId="2147375528"/>
            <ac:spMk id="21" creationId="{B3AA87E3-CBDC-4B14-B7B3-8120F1D55DD6}"/>
          </ac:spMkLst>
        </pc:spChg>
        <pc:picChg chg="add mod">
          <ac:chgData name="Prasad, Gopal Krishna" userId="902836b1-93ce-4c0c-9edf-1b392aafe94b" providerId="ADAL" clId="{63212C41-12C6-4D1F-99E8-37C9AE725488}" dt="2022-08-09T06:35:39.597" v="567" actId="1076"/>
          <ac:picMkLst>
            <pc:docMk/>
            <pc:sldMk cId="1717976653" sldId="2147375528"/>
            <ac:picMk id="12" creationId="{0F87E10A-948F-4FEC-BACB-600D80E61DF9}"/>
          </ac:picMkLst>
        </pc:picChg>
        <pc:picChg chg="del">
          <ac:chgData name="Prasad, Gopal Krishna" userId="902836b1-93ce-4c0c-9edf-1b392aafe94b" providerId="ADAL" clId="{63212C41-12C6-4D1F-99E8-37C9AE725488}" dt="2022-08-09T06:35:10.393" v="561" actId="478"/>
          <ac:picMkLst>
            <pc:docMk/>
            <pc:sldMk cId="1717976653" sldId="2147375528"/>
            <ac:picMk id="39" creationId="{5AB5C51B-C856-4C12-BB75-AC17E93180FA}"/>
          </ac:picMkLst>
        </pc:picChg>
        <pc:picChg chg="del">
          <ac:chgData name="Prasad, Gopal Krishna" userId="902836b1-93ce-4c0c-9edf-1b392aafe94b" providerId="ADAL" clId="{63212C41-12C6-4D1F-99E8-37C9AE725488}" dt="2022-08-09T06:35:11.935" v="562" actId="478"/>
          <ac:picMkLst>
            <pc:docMk/>
            <pc:sldMk cId="1717976653" sldId="2147375528"/>
            <ac:picMk id="40" creationId="{2BE18297-BBE6-477B-B03C-39D230A6760A}"/>
          </ac:picMkLst>
        </pc:picChg>
      </pc:sldChg>
      <pc:sldChg chg="delSp modSp add mod">
        <pc:chgData name="Prasad, Gopal Krishna" userId="902836b1-93ce-4c0c-9edf-1b392aafe94b" providerId="ADAL" clId="{63212C41-12C6-4D1F-99E8-37C9AE725488}" dt="2022-08-09T08:01:00.641" v="1496" actId="5793"/>
        <pc:sldMkLst>
          <pc:docMk/>
          <pc:sldMk cId="1844526930" sldId="2147375529"/>
        </pc:sldMkLst>
        <pc:spChg chg="mod">
          <ac:chgData name="Prasad, Gopal Krishna" userId="902836b1-93ce-4c0c-9edf-1b392aafe94b" providerId="ADAL" clId="{63212C41-12C6-4D1F-99E8-37C9AE725488}" dt="2022-08-09T07:51:11.774" v="1425" actId="20577"/>
          <ac:spMkLst>
            <pc:docMk/>
            <pc:sldMk cId="1844526930" sldId="2147375529"/>
            <ac:spMk id="3" creationId="{00000000-0000-0000-0000-000000000000}"/>
          </ac:spMkLst>
        </pc:spChg>
        <pc:spChg chg="mod">
          <ac:chgData name="Prasad, Gopal Krishna" userId="902836b1-93ce-4c0c-9edf-1b392aafe94b" providerId="ADAL" clId="{63212C41-12C6-4D1F-99E8-37C9AE725488}" dt="2022-08-09T08:01:00.641" v="1496" actId="5793"/>
          <ac:spMkLst>
            <pc:docMk/>
            <pc:sldMk cId="1844526930" sldId="2147375529"/>
            <ac:spMk id="6" creationId="{C7C054F1-0260-4B18-B4F7-2B03906013D2}"/>
          </ac:spMkLst>
        </pc:spChg>
        <pc:spChg chg="mod">
          <ac:chgData name="Prasad, Gopal Krishna" userId="902836b1-93ce-4c0c-9edf-1b392aafe94b" providerId="ADAL" clId="{63212C41-12C6-4D1F-99E8-37C9AE725488}" dt="2022-08-09T07:58:09.139" v="1439" actId="20577"/>
          <ac:spMkLst>
            <pc:docMk/>
            <pc:sldMk cId="1844526930" sldId="2147375529"/>
            <ac:spMk id="21" creationId="{B3AA87E3-CBDC-4B14-B7B3-8120F1D55DD6}"/>
          </ac:spMkLst>
        </pc:spChg>
        <pc:picChg chg="del">
          <ac:chgData name="Prasad, Gopal Krishna" userId="902836b1-93ce-4c0c-9edf-1b392aafe94b" providerId="ADAL" clId="{63212C41-12C6-4D1F-99E8-37C9AE725488}" dt="2022-08-09T07:50:51.985" v="1414" actId="478"/>
          <ac:picMkLst>
            <pc:docMk/>
            <pc:sldMk cId="1844526930" sldId="2147375529"/>
            <ac:picMk id="12" creationId="{0F87E10A-948F-4FEC-BACB-600D80E61DF9}"/>
          </ac:picMkLst>
        </pc:picChg>
      </pc:sldChg>
      <pc:sldChg chg="modSp add mod">
        <pc:chgData name="Prasad, Gopal Krishna" userId="902836b1-93ce-4c0c-9edf-1b392aafe94b" providerId="ADAL" clId="{63212C41-12C6-4D1F-99E8-37C9AE725488}" dt="2022-08-09T08:04:14.499" v="1579" actId="20577"/>
        <pc:sldMkLst>
          <pc:docMk/>
          <pc:sldMk cId="4081166575" sldId="2147375530"/>
        </pc:sldMkLst>
        <pc:spChg chg="mod">
          <ac:chgData name="Prasad, Gopal Krishna" userId="902836b1-93ce-4c0c-9edf-1b392aafe94b" providerId="ADAL" clId="{63212C41-12C6-4D1F-99E8-37C9AE725488}" dt="2022-08-09T08:01:28.856" v="1502" actId="20577"/>
          <ac:spMkLst>
            <pc:docMk/>
            <pc:sldMk cId="4081166575" sldId="2147375530"/>
            <ac:spMk id="3" creationId="{00000000-0000-0000-0000-000000000000}"/>
          </ac:spMkLst>
        </pc:spChg>
        <pc:spChg chg="mod">
          <ac:chgData name="Prasad, Gopal Krishna" userId="902836b1-93ce-4c0c-9edf-1b392aafe94b" providerId="ADAL" clId="{63212C41-12C6-4D1F-99E8-37C9AE725488}" dt="2022-08-09T08:04:14.499" v="1579" actId="20577"/>
          <ac:spMkLst>
            <pc:docMk/>
            <pc:sldMk cId="4081166575" sldId="2147375530"/>
            <ac:spMk id="6" creationId="{C7C054F1-0260-4B18-B4F7-2B03906013D2}"/>
          </ac:spMkLst>
        </pc:spChg>
        <pc:spChg chg="mod">
          <ac:chgData name="Prasad, Gopal Krishna" userId="902836b1-93ce-4c0c-9edf-1b392aafe94b" providerId="ADAL" clId="{63212C41-12C6-4D1F-99E8-37C9AE725488}" dt="2022-08-09T08:02:14.156" v="1511" actId="20577"/>
          <ac:spMkLst>
            <pc:docMk/>
            <pc:sldMk cId="4081166575" sldId="2147375530"/>
            <ac:spMk id="21" creationId="{B3AA87E3-CBDC-4B14-B7B3-8120F1D55DD6}"/>
          </ac:spMkLst>
        </pc:spChg>
      </pc:sldChg>
    </pc:docChg>
  </pc:docChgLst>
  <pc:docChgLst>
    <pc:chgData name="Pogula, Nalini" userId="S::nalini.pogula@capgemini.com::dc275345-31ba-439f-bd14-ccba23d655f2" providerId="AD" clId="Web-{F78BCF18-0D79-4D77-9FB4-651EB451B07A}"/>
    <pc:docChg chg="modSld">
      <pc:chgData name="Pogula, Nalini" userId="S::nalini.pogula@capgemini.com::dc275345-31ba-439f-bd14-ccba23d655f2" providerId="AD" clId="Web-{F78BCF18-0D79-4D77-9FB4-651EB451B07A}" dt="2022-11-04T10:41:35.582" v="0" actId="1076"/>
      <pc:docMkLst>
        <pc:docMk/>
      </pc:docMkLst>
      <pc:sldChg chg="modSp">
        <pc:chgData name="Pogula, Nalini" userId="S::nalini.pogula@capgemini.com::dc275345-31ba-439f-bd14-ccba23d655f2" providerId="AD" clId="Web-{F78BCF18-0D79-4D77-9FB4-651EB451B07A}" dt="2022-11-04T10:41:35.582" v="0" actId="1076"/>
        <pc:sldMkLst>
          <pc:docMk/>
          <pc:sldMk cId="2495710441" sldId="2147375526"/>
        </pc:sldMkLst>
        <pc:picChg chg="mod">
          <ac:chgData name="Pogula, Nalini" userId="S::nalini.pogula@capgemini.com::dc275345-31ba-439f-bd14-ccba23d655f2" providerId="AD" clId="Web-{F78BCF18-0D79-4D77-9FB4-651EB451B07A}" dt="2022-11-04T10:41:35.582" v="0" actId="1076"/>
          <ac:picMkLst>
            <pc:docMk/>
            <pc:sldMk cId="2495710441" sldId="2147375526"/>
            <ac:picMk id="39" creationId="{5AB5C51B-C856-4C12-BB75-AC17E93180FA}"/>
          </ac:picMkLst>
        </pc:picChg>
      </pc:sldChg>
    </pc:docChg>
  </pc:docChgLst>
  <pc:docChgLst>
    <pc:chgData name="THOGARCHEDU, PRASAD" userId="S::prasad.a.thogarchedu@capgemini.com::e6f54bbe-a9a3-4bdf-8139-0def1e27e59d" providerId="AD" clId="Web-{BD0472BB-4B57-46D1-9BC8-C0DFF953D68F}"/>
    <pc:docChg chg="modSld">
      <pc:chgData name="THOGARCHEDU, PRASAD" userId="S::prasad.a.thogarchedu@capgemini.com::e6f54bbe-a9a3-4bdf-8139-0def1e27e59d" providerId="AD" clId="Web-{BD0472BB-4B57-46D1-9BC8-C0DFF953D68F}" dt="2022-11-02T11:16:45.586" v="0" actId="1076"/>
      <pc:docMkLst>
        <pc:docMk/>
      </pc:docMkLst>
      <pc:sldChg chg="modSp">
        <pc:chgData name="THOGARCHEDU, PRASAD" userId="S::prasad.a.thogarchedu@capgemini.com::e6f54bbe-a9a3-4bdf-8139-0def1e27e59d" providerId="AD" clId="Web-{BD0472BB-4B57-46D1-9BC8-C0DFF953D68F}" dt="2022-11-02T11:16:45.586" v="0" actId="1076"/>
        <pc:sldMkLst>
          <pc:docMk/>
          <pc:sldMk cId="1039370650" sldId="2147375527"/>
        </pc:sldMkLst>
        <pc:spChg chg="mod">
          <ac:chgData name="THOGARCHEDU, PRASAD" userId="S::prasad.a.thogarchedu@capgemini.com::e6f54bbe-a9a3-4bdf-8139-0def1e27e59d" providerId="AD" clId="Web-{BD0472BB-4B57-46D1-9BC8-C0DFF953D68F}" dt="2022-11-02T11:16:45.586" v="0" actId="1076"/>
          <ac:spMkLst>
            <pc:docMk/>
            <pc:sldMk cId="1039370650" sldId="2147375527"/>
            <ac:spMk id="56" creationId="{C8A81FE7-4335-439B-B077-939D9B29CCCE}"/>
          </ac:spMkLst>
        </pc:spChg>
      </pc:sldChg>
    </pc:docChg>
  </pc:docChgLst>
  <pc:docChgLst>
    <pc:chgData name="Sudheeshna, Maddukuri Naga" userId="S::maddukuri-naga.sudheeshna@capgemini.com::69705216-271c-463d-9a5d-0debc88cd134" providerId="AD" clId="Web-{2C3E6937-796B-4002-8247-49CEBCF91D1B}"/>
    <pc:docChg chg="modSld">
      <pc:chgData name="Sudheeshna, Maddukuri Naga" userId="S::maddukuri-naga.sudheeshna@capgemini.com::69705216-271c-463d-9a5d-0debc88cd134" providerId="AD" clId="Web-{2C3E6937-796B-4002-8247-49CEBCF91D1B}" dt="2022-11-08T06:51:43.517" v="1" actId="14100"/>
      <pc:docMkLst>
        <pc:docMk/>
      </pc:docMkLst>
      <pc:sldChg chg="modSp">
        <pc:chgData name="Sudheeshna, Maddukuri Naga" userId="S::maddukuri-naga.sudheeshna@capgemini.com::69705216-271c-463d-9a5d-0debc88cd134" providerId="AD" clId="Web-{2C3E6937-796B-4002-8247-49CEBCF91D1B}" dt="2022-11-08T06:51:43.517" v="1" actId="14100"/>
        <pc:sldMkLst>
          <pc:docMk/>
          <pc:sldMk cId="1717976653" sldId="2147375528"/>
        </pc:sldMkLst>
        <pc:picChg chg="mod">
          <ac:chgData name="Sudheeshna, Maddukuri Naga" userId="S::maddukuri-naga.sudheeshna@capgemini.com::69705216-271c-463d-9a5d-0debc88cd134" providerId="AD" clId="Web-{2C3E6937-796B-4002-8247-49CEBCF91D1B}" dt="2022-11-08T06:51:43.517" v="1" actId="14100"/>
          <ac:picMkLst>
            <pc:docMk/>
            <pc:sldMk cId="1717976653" sldId="2147375528"/>
            <ac:picMk id="12" creationId="{0F87E10A-948F-4FEC-BACB-600D80E61DF9}"/>
          </ac:picMkLst>
        </pc:picChg>
      </pc:sldChg>
    </pc:docChg>
  </pc:docChgLst>
  <pc:docChgLst>
    <pc:chgData name="Bhuvaneshwari, Vancha" userId="S::vancha.bhuvaneshwari@capgemini.com::c08e614b-97aa-4b4a-b234-297d13542fa2" providerId="AD" clId="Web-{BC1B6D7E-88A1-455F-88F8-97480D703C32}"/>
    <pc:docChg chg="modSld">
      <pc:chgData name="Bhuvaneshwari, Vancha" userId="S::vancha.bhuvaneshwari@capgemini.com::c08e614b-97aa-4b4a-b234-297d13542fa2" providerId="AD" clId="Web-{BC1B6D7E-88A1-455F-88F8-97480D703C32}" dt="2022-11-04T04:49:20.559" v="1" actId="14100"/>
      <pc:docMkLst>
        <pc:docMk/>
      </pc:docMkLst>
      <pc:sldChg chg="modSp">
        <pc:chgData name="Bhuvaneshwari, Vancha" userId="S::vancha.bhuvaneshwari@capgemini.com::c08e614b-97aa-4b4a-b234-297d13542fa2" providerId="AD" clId="Web-{BC1B6D7E-88A1-455F-88F8-97480D703C32}" dt="2022-11-04T04:49:20.559" v="1" actId="14100"/>
        <pc:sldMkLst>
          <pc:docMk/>
          <pc:sldMk cId="1717976653" sldId="2147375528"/>
        </pc:sldMkLst>
        <pc:picChg chg="mod">
          <ac:chgData name="Bhuvaneshwari, Vancha" userId="S::vancha.bhuvaneshwari@capgemini.com::c08e614b-97aa-4b4a-b234-297d13542fa2" providerId="AD" clId="Web-{BC1B6D7E-88A1-455F-88F8-97480D703C32}" dt="2022-11-04T04:49:20.559" v="1" actId="14100"/>
          <ac:picMkLst>
            <pc:docMk/>
            <pc:sldMk cId="1717976653" sldId="2147375528"/>
            <ac:picMk id="12" creationId="{0F87E10A-948F-4FEC-BACB-600D80E61DF9}"/>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8CD0907-5D55-4EA8-A988-06786DB4EED9}" type="datetimeFigureOut">
              <a:rPr lang="en-US" smtClean="0"/>
              <a:t>11/7/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5DCEEED-A257-40B3-A820-D343AF3EE5B5}" type="slidenum">
              <a:rPr lang="en-US" smtClean="0"/>
              <a:t>‹#›</a:t>
            </a:fld>
            <a:endParaRPr lang="en-US"/>
          </a:p>
        </p:txBody>
      </p:sp>
    </p:spTree>
    <p:extLst>
      <p:ext uri="{BB962C8B-B14F-4D97-AF65-F5344CB8AC3E}">
        <p14:creationId xmlns:p14="http://schemas.microsoft.com/office/powerpoint/2010/main" val="26801095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1088239" rtl="0" eaLnBrk="1" fontAlgn="auto" latinLnBrk="0" hangingPunct="1">
              <a:lnSpc>
                <a:spcPct val="100000"/>
              </a:lnSpc>
              <a:spcBef>
                <a:spcPts val="0"/>
              </a:spcBef>
              <a:spcAft>
                <a:spcPts val="0"/>
              </a:spcAft>
              <a:buClrTx/>
              <a:buSzTx/>
              <a:buFontTx/>
              <a:buNone/>
              <a:tabLst/>
              <a:defRPr/>
            </a:pPr>
            <a:fld id="{9FF4F04D-5809-46B9-BC34-D0E45399D316}"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088239" rtl="0" eaLnBrk="1" fontAlgn="auto" latinLnBrk="0" hangingPunct="1">
                <a:lnSpc>
                  <a:spcPct val="100000"/>
                </a:lnSpc>
                <a:spcBef>
                  <a:spcPts val="0"/>
                </a:spcBef>
                <a:spcAft>
                  <a:spcPts val="0"/>
                </a:spcAft>
                <a:buClrTx/>
                <a:buSzTx/>
                <a:buFontTx/>
                <a:buNone/>
                <a:tabLst/>
                <a:defRPr/>
              </a:pPr>
              <a:t>2</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146522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B7EA1A-E935-4200-A82D-B7EDF34E7D9F}" type="slidenum">
              <a:rPr kumimoji="0" lang="en-US"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37137592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B7EA1A-E935-4200-A82D-B7EDF34E7D9F}" type="slidenum">
              <a:rPr kumimoji="0" lang="en-US"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32576883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B7EA1A-E935-4200-A82D-B7EDF34E7D9F}" type="slidenum">
              <a:rPr kumimoji="0" lang="en-US"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26804872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B7EA1A-E935-4200-A82D-B7EDF34E7D9F}" type="slidenum">
              <a:rPr kumimoji="0" lang="en-US"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365313368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9.png"/><Relationship Id="rId18" Type="http://schemas.openxmlformats.org/officeDocument/2006/relationships/hyperlink" Target="http://www.facebook.com/capgemini" TargetMode="External"/><Relationship Id="rId3" Type="http://schemas.openxmlformats.org/officeDocument/2006/relationships/tags" Target="../tags/tag4.xml"/><Relationship Id="rId21" Type="http://schemas.openxmlformats.org/officeDocument/2006/relationships/hyperlink" Target="http://www.capgemini.com/about/how-we-work/the-collaborative-business-experiencetm" TargetMode="External"/><Relationship Id="rId7" Type="http://schemas.openxmlformats.org/officeDocument/2006/relationships/image" Target="../media/image7.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3.xml"/><Relationship Id="rId16" Type="http://schemas.openxmlformats.org/officeDocument/2006/relationships/image" Target="../media/image10.png"/><Relationship Id="rId20" Type="http://schemas.microsoft.com/office/2007/relationships/hdphoto" Target="../media/hdphoto5.wdp"/><Relationship Id="rId1" Type="http://schemas.openxmlformats.org/officeDocument/2006/relationships/tags" Target="../tags/tag2.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1.xml"/><Relationship Id="rId15" Type="http://schemas.openxmlformats.org/officeDocument/2006/relationships/hyperlink" Target="http://www.youtube.com/capgeminimedia" TargetMode="External"/><Relationship Id="rId23" Type="http://schemas.openxmlformats.org/officeDocument/2006/relationships/hyperlink" Target="http://www.capgemini.com/" TargetMode="External"/><Relationship Id="rId10" Type="http://schemas.openxmlformats.org/officeDocument/2006/relationships/image" Target="../media/image8.png"/><Relationship Id="rId19" Type="http://schemas.openxmlformats.org/officeDocument/2006/relationships/image" Target="../media/image11.png"/><Relationship Id="rId4" Type="http://schemas.openxmlformats.org/officeDocument/2006/relationships/tags" Target="../tags/tag5.xml"/><Relationship Id="rId9" Type="http://schemas.openxmlformats.org/officeDocument/2006/relationships/hyperlink" Target="http://www.slideshare.net/capgemini" TargetMode="External"/><Relationship Id="rId14" Type="http://schemas.microsoft.com/office/2007/relationships/hdphoto" Target="../media/hdphoto3.wdp"/><Relationship Id="rId22" Type="http://schemas.openxmlformats.org/officeDocument/2006/relationships/hyperlink" Target="http://www.capgemini.com/about/how-we-work/rightshorer" TargetMode="Externa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13.emf"/><Relationship Id="rId4" Type="http://schemas.openxmlformats.org/officeDocument/2006/relationships/oleObject" Target="../embeddings/oleObject7.bin"/></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12.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13.emf"/><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NUL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2"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38"/>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4"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chemeClr val="accent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56" tIns="37128" rIns="74256" bIns="37128" numCol="1" anchor="t" anchorCtr="0" compatLnSpc="1">
            <a:prstTxWarp prst="textNoShape">
              <a:avLst/>
            </a:prstTxWarp>
            <a:noAutofit/>
          </a:bodyPr>
          <a:lstStyle/>
          <a:p>
            <a:endParaRPr lang="en-US" sz="1138"/>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8" y="2404117"/>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38"/>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38"/>
            </a:p>
          </p:txBody>
        </p:sp>
      </p:grpSp>
      <p:sp>
        <p:nvSpPr>
          <p:cNvPr id="14" name="Rectangle 13"/>
          <p:cNvSpPr/>
          <p:nvPr userDrawn="1"/>
        </p:nvSpPr>
        <p:spPr>
          <a:xfrm>
            <a:off x="6536186" y="2886347"/>
            <a:ext cx="4409558"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731" b="0" i="0" kern="1200">
                <a:solidFill>
                  <a:schemeClr val="tx1"/>
                </a:solidFill>
                <a:effectLst/>
                <a:latin typeface="Ubuntu Light" panose="020B0304030602030204" pitchFamily="34" charset="0"/>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731" b="0" i="0" kern="1200">
                <a:solidFill>
                  <a:schemeClr val="tx1"/>
                </a:solidFill>
                <a:effectLst/>
                <a:latin typeface="Ubuntu Light" panose="020B0304030602030204" pitchFamily="34" charset="0"/>
                <a:ea typeface="+mn-ea"/>
                <a:cs typeface="+mn-cs"/>
              </a:rPr>
              <a:t>Building on its strong 50-year heritage and deep industry-specific expertise, Capgemini enables organizations to realize their business ambitions through an array of services </a:t>
            </a:r>
            <a:r>
              <a:rPr lang="en-US" sz="731" b="0" i="0" kern="1200">
                <a:solidFill>
                  <a:schemeClr val="tx1"/>
                </a:solidFill>
                <a:effectLst/>
                <a:latin typeface="Ubuntu Light" panose="020B0304030602030204" pitchFamily="34" charset="0"/>
                <a:ea typeface="+mn-ea"/>
                <a:cs typeface="+mn-cs"/>
              </a:rPr>
              <a:t>from strategy to operations. Capgemini is driven by the conviction that the business value of technology comes from and through people. It is a multicultural company of 200,000 team members in over 40 countries. The Group reported 2016 global revenues of EUR 12.5 billion.</a:t>
            </a:r>
          </a:p>
        </p:txBody>
      </p:sp>
      <p:sp>
        <p:nvSpPr>
          <p:cNvPr id="15" name="Rectangle 14"/>
          <p:cNvSpPr/>
          <p:nvPr userDrawn="1"/>
        </p:nvSpPr>
        <p:spPr>
          <a:xfrm>
            <a:off x="6536183" y="2507084"/>
            <a:ext cx="2219961" cy="183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624"/>
              </a:lnSpc>
            </a:pPr>
            <a:r>
              <a:rPr lang="en-US" sz="1138" b="0" i="0">
                <a:solidFill>
                  <a:schemeClr val="accent1"/>
                </a:solidFill>
                <a:latin typeface="Ubuntu Light" panose="020B0304030602030204" pitchFamily="34" charset="0"/>
              </a:rPr>
              <a:t>About Capgemini</a:t>
            </a:r>
          </a:p>
        </p:txBody>
      </p:sp>
      <p:sp>
        <p:nvSpPr>
          <p:cNvPr id="16" name="Rectangle 15"/>
          <p:cNvSpPr/>
          <p:nvPr userDrawn="1"/>
        </p:nvSpPr>
        <p:spPr>
          <a:xfrm>
            <a:off x="6536183" y="4235831"/>
            <a:ext cx="2057401" cy="4072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75"/>
              </a:lnSpc>
              <a:spcAft>
                <a:spcPts val="488"/>
              </a:spcAft>
            </a:pPr>
            <a:r>
              <a:rPr lang="en-US" sz="731" b="0" i="0">
                <a:solidFill>
                  <a:schemeClr val="tx1"/>
                </a:solidFill>
                <a:latin typeface="Ubuntu Light" panose="020B0304030602030204" pitchFamily="34" charset="0"/>
              </a:rPr>
              <a:t>Learn more about us at</a:t>
            </a:r>
          </a:p>
          <a:p>
            <a:pPr algn="just">
              <a:lnSpc>
                <a:spcPts val="975"/>
              </a:lnSpc>
            </a:pPr>
            <a:r>
              <a:rPr lang="en-US" sz="1138" b="0" i="0">
                <a:solidFill>
                  <a:schemeClr val="accent2"/>
                </a:solidFill>
                <a:latin typeface="Ubuntu Light" panose="020B0304030602030204" pitchFamily="34" charset="0"/>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810099"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1193478"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576854"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email">
            <a:extLst>
              <a:ext uri="{28A0092B-C50C-407E-A947-70E740481C1C}">
                <a14:useLocalDpi xmlns:a14="http://schemas.microsoft.com/office/drawing/2010/main"/>
              </a:ext>
            </a:extLst>
          </a:blip>
          <a:srcRect/>
          <a:stretch>
            <a:fillRect/>
          </a:stretch>
        </p:blipFill>
        <p:spPr bwMode="auto">
          <a:xfrm>
            <a:off x="1960228"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email">
            <a:extLst>
              <a:ext uri="{28A0092B-C50C-407E-A947-70E740481C1C}">
                <a14:useLocalDpi xmlns:a14="http://schemas.microsoft.com/office/drawing/2010/main"/>
              </a:ext>
            </a:extLst>
          </a:blip>
          <a:srcRect/>
          <a:stretch>
            <a:fillRect/>
          </a:stretch>
        </p:blipFill>
        <p:spPr bwMode="auto">
          <a:xfrm>
            <a:off x="426722" y="3979258"/>
            <a:ext cx="333195" cy="333195"/>
          </a:xfrm>
          <a:prstGeom prst="rect">
            <a:avLst/>
          </a:prstGeom>
          <a:noFill/>
        </p:spPr>
      </p:pic>
      <p:sp>
        <p:nvSpPr>
          <p:cNvPr id="23" name="Rectangle 22"/>
          <p:cNvSpPr/>
          <p:nvPr userDrawn="1"/>
        </p:nvSpPr>
        <p:spPr>
          <a:xfrm>
            <a:off x="426722" y="5846099"/>
            <a:ext cx="4013280" cy="364202"/>
          </a:xfrm>
          <a:prstGeom prst="rect">
            <a:avLst/>
          </a:prstGeom>
        </p:spPr>
        <p:txBody>
          <a:bodyPr wrap="square" lIns="0" tIns="0" rIns="0" bIns="0" anchor="b" anchorCtr="0">
            <a:spAutoFit/>
          </a:bodyPr>
          <a:lstStyle/>
          <a:p>
            <a:pPr>
              <a:spcAft>
                <a:spcPts val="488"/>
              </a:spcAft>
            </a:pPr>
            <a:r>
              <a:rPr lang="en-US" sz="650" b="0" i="0" noProof="0">
                <a:solidFill>
                  <a:schemeClr val="bg1"/>
                </a:solidFill>
                <a:latin typeface="Ubuntu Light" panose="020B0304030602030204" pitchFamily="34" charset="0"/>
                <a:cs typeface="Arial"/>
              </a:rPr>
              <a:t>This presentation contains information that may be privileged or confidential and is the property of the Capgemini Group.</a:t>
            </a:r>
          </a:p>
          <a:p>
            <a:pPr>
              <a:spcAft>
                <a:spcPts val="488"/>
              </a:spcAft>
            </a:pPr>
            <a:r>
              <a:rPr lang="en-US" sz="650" b="0" i="0" noProof="0">
                <a:solidFill>
                  <a:schemeClr val="bg1"/>
                </a:solidFill>
                <a:latin typeface="Ubuntu Light" panose="020B0304030602030204" pitchFamily="34" charset="0"/>
                <a:cs typeface="Arial"/>
              </a:rPr>
              <a:t>Copyright © 2018 Capgemini. All rights reserved.</a:t>
            </a:r>
          </a:p>
        </p:txBody>
      </p:sp>
      <p:sp>
        <p:nvSpPr>
          <p:cNvPr id="25" name="Rectangle 24">
            <a:hlinkClick r:id="rId12"/>
          </p:cNvPr>
          <p:cNvSpPr/>
          <p:nvPr userDrawn="1"/>
        </p:nvSpPr>
        <p:spPr>
          <a:xfrm>
            <a:off x="7489903" y="3812095"/>
            <a:ext cx="2336089"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38"/>
          </a:p>
        </p:txBody>
      </p:sp>
      <p:sp>
        <p:nvSpPr>
          <p:cNvPr id="26" name="Rectangle 25">
            <a:hlinkClick r:id="rId13"/>
          </p:cNvPr>
          <p:cNvSpPr/>
          <p:nvPr userDrawn="1"/>
        </p:nvSpPr>
        <p:spPr>
          <a:xfrm>
            <a:off x="10730869" y="3812095"/>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38"/>
          </a:p>
        </p:txBody>
      </p:sp>
      <p:grpSp>
        <p:nvGrpSpPr>
          <p:cNvPr id="27" name="Groupe 26"/>
          <p:cNvGrpSpPr>
            <a:grpSpLocks noChangeAspect="1"/>
          </p:cNvGrpSpPr>
          <p:nvPr userDrawn="1"/>
        </p:nvGrpSpPr>
        <p:grpSpPr>
          <a:xfrm>
            <a:off x="444000" y="4471818"/>
            <a:ext cx="2340000" cy="181187"/>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38"/>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38"/>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38"/>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38"/>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38"/>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38"/>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38"/>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38"/>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38"/>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38"/>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38"/>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38"/>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38"/>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38"/>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38"/>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38"/>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38"/>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38"/>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38"/>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38"/>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38"/>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38"/>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38"/>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38"/>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38"/>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38"/>
            </a:p>
          </p:txBody>
        </p:sp>
      </p:grpSp>
    </p:spTree>
    <p:extLst>
      <p:ext uri="{BB962C8B-B14F-4D97-AF65-F5344CB8AC3E}">
        <p14:creationId xmlns:p14="http://schemas.microsoft.com/office/powerpoint/2010/main" val="2069858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EBB271-3C68-46AF-B550-0E1EB6458D7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504C0B0-160A-4A67-B507-7A283C74E78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33EF0AE-713C-4AC2-AC06-15A887AFB9E2}"/>
              </a:ext>
            </a:extLst>
          </p:cNvPr>
          <p:cNvSpPr>
            <a:spLocks noGrp="1"/>
          </p:cNvSpPr>
          <p:nvPr>
            <p:ph type="dt" sz="half" idx="10"/>
          </p:nvPr>
        </p:nvSpPr>
        <p:spPr/>
        <p:txBody>
          <a:bodyPr/>
          <a:lstStyle/>
          <a:p>
            <a:fld id="{FDC1AC40-397F-449F-8E76-697FF1297A82}" type="datetimeFigureOut">
              <a:rPr lang="en-US" smtClean="0"/>
              <a:t>11/7/2022</a:t>
            </a:fld>
            <a:endParaRPr lang="en-US"/>
          </a:p>
        </p:txBody>
      </p:sp>
      <p:sp>
        <p:nvSpPr>
          <p:cNvPr id="5" name="Footer Placeholder 4">
            <a:extLst>
              <a:ext uri="{FF2B5EF4-FFF2-40B4-BE49-F238E27FC236}">
                <a16:creationId xmlns:a16="http://schemas.microsoft.com/office/drawing/2014/main" id="{0537E7DF-36BC-4ADD-87B2-D263E4B467D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49462F8-3FA3-42E9-8083-304EEF08D409}"/>
              </a:ext>
            </a:extLst>
          </p:cNvPr>
          <p:cNvSpPr>
            <a:spLocks noGrp="1"/>
          </p:cNvSpPr>
          <p:nvPr>
            <p:ph type="sldNum" sz="quarter" idx="12"/>
          </p:nvPr>
        </p:nvSpPr>
        <p:spPr/>
        <p:txBody>
          <a:bodyPr/>
          <a:lstStyle/>
          <a:p>
            <a:fld id="{FEFE127A-B36E-4672-AB40-D6C463D3C51B}" type="slidenum">
              <a:rPr lang="en-US" smtClean="0"/>
              <a:t>‹#›</a:t>
            </a:fld>
            <a:endParaRPr lang="en-US"/>
          </a:p>
        </p:txBody>
      </p:sp>
    </p:spTree>
    <p:extLst>
      <p:ext uri="{BB962C8B-B14F-4D97-AF65-F5344CB8AC3E}">
        <p14:creationId xmlns:p14="http://schemas.microsoft.com/office/powerpoint/2010/main" val="364739206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A4CA20-C453-4F0B-AF3D-6046D4FC500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2CC37F4-3A1F-4D8A-A906-EBF28C05EF1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43435BF-0DE4-4A05-B692-15400682101B}"/>
              </a:ext>
            </a:extLst>
          </p:cNvPr>
          <p:cNvSpPr>
            <a:spLocks noGrp="1"/>
          </p:cNvSpPr>
          <p:nvPr>
            <p:ph type="dt" sz="half" idx="10"/>
          </p:nvPr>
        </p:nvSpPr>
        <p:spPr/>
        <p:txBody>
          <a:bodyPr/>
          <a:lstStyle/>
          <a:p>
            <a:fld id="{FDC1AC40-397F-449F-8E76-697FF1297A82}" type="datetimeFigureOut">
              <a:rPr lang="en-US" smtClean="0"/>
              <a:t>11/7/2022</a:t>
            </a:fld>
            <a:endParaRPr lang="en-US"/>
          </a:p>
        </p:txBody>
      </p:sp>
      <p:sp>
        <p:nvSpPr>
          <p:cNvPr id="5" name="Footer Placeholder 4">
            <a:extLst>
              <a:ext uri="{FF2B5EF4-FFF2-40B4-BE49-F238E27FC236}">
                <a16:creationId xmlns:a16="http://schemas.microsoft.com/office/drawing/2014/main" id="{E8F98220-E27D-4F22-AF9A-31243F3C5C4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7D52A03-45A6-4930-A0EE-CC6C2876CDA1}"/>
              </a:ext>
            </a:extLst>
          </p:cNvPr>
          <p:cNvSpPr>
            <a:spLocks noGrp="1"/>
          </p:cNvSpPr>
          <p:nvPr>
            <p:ph type="sldNum" sz="quarter" idx="12"/>
          </p:nvPr>
        </p:nvSpPr>
        <p:spPr/>
        <p:txBody>
          <a:bodyPr/>
          <a:lstStyle/>
          <a:p>
            <a:fld id="{FEFE127A-B36E-4672-AB40-D6C463D3C51B}" type="slidenum">
              <a:rPr lang="en-US" smtClean="0"/>
              <a:t>‹#›</a:t>
            </a:fld>
            <a:endParaRPr lang="en-US"/>
          </a:p>
        </p:txBody>
      </p:sp>
    </p:spTree>
    <p:extLst>
      <p:ext uri="{BB962C8B-B14F-4D97-AF65-F5344CB8AC3E}">
        <p14:creationId xmlns:p14="http://schemas.microsoft.com/office/powerpoint/2010/main" val="33806635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CE6492-55FB-4F57-A525-714CF227639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C392CB6-4871-44B2-A09D-3FC6B185BC9D}"/>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DF10103-8851-45CD-954C-C4A46F830F53}"/>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8CCB81A-2CDF-4290-8454-2AB42E6231D8}"/>
              </a:ext>
            </a:extLst>
          </p:cNvPr>
          <p:cNvSpPr>
            <a:spLocks noGrp="1"/>
          </p:cNvSpPr>
          <p:nvPr>
            <p:ph type="dt" sz="half" idx="10"/>
          </p:nvPr>
        </p:nvSpPr>
        <p:spPr/>
        <p:txBody>
          <a:bodyPr/>
          <a:lstStyle/>
          <a:p>
            <a:fld id="{FDC1AC40-397F-449F-8E76-697FF1297A82}" type="datetimeFigureOut">
              <a:rPr lang="en-US" smtClean="0"/>
              <a:t>11/7/2022</a:t>
            </a:fld>
            <a:endParaRPr lang="en-US"/>
          </a:p>
        </p:txBody>
      </p:sp>
      <p:sp>
        <p:nvSpPr>
          <p:cNvPr id="6" name="Footer Placeholder 5">
            <a:extLst>
              <a:ext uri="{FF2B5EF4-FFF2-40B4-BE49-F238E27FC236}">
                <a16:creationId xmlns:a16="http://schemas.microsoft.com/office/drawing/2014/main" id="{B64E7202-05DD-4F9A-82BA-A9C3BD8BD90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215C067-950C-41E4-875D-AF85F87D502A}"/>
              </a:ext>
            </a:extLst>
          </p:cNvPr>
          <p:cNvSpPr>
            <a:spLocks noGrp="1"/>
          </p:cNvSpPr>
          <p:nvPr>
            <p:ph type="sldNum" sz="quarter" idx="12"/>
          </p:nvPr>
        </p:nvSpPr>
        <p:spPr/>
        <p:txBody>
          <a:bodyPr/>
          <a:lstStyle/>
          <a:p>
            <a:fld id="{FEFE127A-B36E-4672-AB40-D6C463D3C51B}" type="slidenum">
              <a:rPr lang="en-US" smtClean="0"/>
              <a:t>‹#›</a:t>
            </a:fld>
            <a:endParaRPr lang="en-US"/>
          </a:p>
        </p:txBody>
      </p:sp>
    </p:spTree>
    <p:extLst>
      <p:ext uri="{BB962C8B-B14F-4D97-AF65-F5344CB8AC3E}">
        <p14:creationId xmlns:p14="http://schemas.microsoft.com/office/powerpoint/2010/main" val="298013135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6BDB99-E734-4944-A700-2EC5CECABC9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35E7709-6FB6-4101-9A02-06797398CD7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7C0D09B-C9E7-4E55-B13B-BDC2376F713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81D151E-C7A6-42B4-9D34-BFE3D43FF52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9BD6A25-E64F-4BAF-ACCD-50D84730AB0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32CA2C3-B296-4372-BCBF-1FF185132D53}"/>
              </a:ext>
            </a:extLst>
          </p:cNvPr>
          <p:cNvSpPr>
            <a:spLocks noGrp="1"/>
          </p:cNvSpPr>
          <p:nvPr>
            <p:ph type="dt" sz="half" idx="10"/>
          </p:nvPr>
        </p:nvSpPr>
        <p:spPr/>
        <p:txBody>
          <a:bodyPr/>
          <a:lstStyle/>
          <a:p>
            <a:fld id="{FDC1AC40-397F-449F-8E76-697FF1297A82}" type="datetimeFigureOut">
              <a:rPr lang="en-US" smtClean="0"/>
              <a:t>11/7/2022</a:t>
            </a:fld>
            <a:endParaRPr lang="en-US"/>
          </a:p>
        </p:txBody>
      </p:sp>
      <p:sp>
        <p:nvSpPr>
          <p:cNvPr id="8" name="Footer Placeholder 7">
            <a:extLst>
              <a:ext uri="{FF2B5EF4-FFF2-40B4-BE49-F238E27FC236}">
                <a16:creationId xmlns:a16="http://schemas.microsoft.com/office/drawing/2014/main" id="{69131149-540E-4198-B76A-23D461B5FFDD}"/>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0EA670EB-997A-4D62-AFB7-81B1BCFF2C8B}"/>
              </a:ext>
            </a:extLst>
          </p:cNvPr>
          <p:cNvSpPr>
            <a:spLocks noGrp="1"/>
          </p:cNvSpPr>
          <p:nvPr>
            <p:ph type="sldNum" sz="quarter" idx="12"/>
          </p:nvPr>
        </p:nvSpPr>
        <p:spPr/>
        <p:txBody>
          <a:bodyPr/>
          <a:lstStyle/>
          <a:p>
            <a:fld id="{FEFE127A-B36E-4672-AB40-D6C463D3C51B}" type="slidenum">
              <a:rPr lang="en-US" smtClean="0"/>
              <a:t>‹#›</a:t>
            </a:fld>
            <a:endParaRPr lang="en-US"/>
          </a:p>
        </p:txBody>
      </p:sp>
    </p:spTree>
    <p:extLst>
      <p:ext uri="{BB962C8B-B14F-4D97-AF65-F5344CB8AC3E}">
        <p14:creationId xmlns:p14="http://schemas.microsoft.com/office/powerpoint/2010/main" val="428656849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D3F58B-75A9-4FB8-B244-12E3C24A09F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B1473BC-03A3-47DF-AD48-FCDA244CDCCE}"/>
              </a:ext>
            </a:extLst>
          </p:cNvPr>
          <p:cNvSpPr>
            <a:spLocks noGrp="1"/>
          </p:cNvSpPr>
          <p:nvPr>
            <p:ph type="dt" sz="half" idx="10"/>
          </p:nvPr>
        </p:nvSpPr>
        <p:spPr/>
        <p:txBody>
          <a:bodyPr/>
          <a:lstStyle/>
          <a:p>
            <a:fld id="{FDC1AC40-397F-449F-8E76-697FF1297A82}" type="datetimeFigureOut">
              <a:rPr lang="en-US" smtClean="0"/>
              <a:t>11/7/2022</a:t>
            </a:fld>
            <a:endParaRPr lang="en-US"/>
          </a:p>
        </p:txBody>
      </p:sp>
      <p:sp>
        <p:nvSpPr>
          <p:cNvPr id="4" name="Footer Placeholder 3">
            <a:extLst>
              <a:ext uri="{FF2B5EF4-FFF2-40B4-BE49-F238E27FC236}">
                <a16:creationId xmlns:a16="http://schemas.microsoft.com/office/drawing/2014/main" id="{D68CB2B2-E8AC-4352-99CC-844BEA008EA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CCE21D7-F215-4A89-A92E-4883A5E2079C}"/>
              </a:ext>
            </a:extLst>
          </p:cNvPr>
          <p:cNvSpPr>
            <a:spLocks noGrp="1"/>
          </p:cNvSpPr>
          <p:nvPr>
            <p:ph type="sldNum" sz="quarter" idx="12"/>
          </p:nvPr>
        </p:nvSpPr>
        <p:spPr/>
        <p:txBody>
          <a:bodyPr/>
          <a:lstStyle/>
          <a:p>
            <a:fld id="{FEFE127A-B36E-4672-AB40-D6C463D3C51B}" type="slidenum">
              <a:rPr lang="en-US" smtClean="0"/>
              <a:t>‹#›</a:t>
            </a:fld>
            <a:endParaRPr lang="en-US"/>
          </a:p>
        </p:txBody>
      </p:sp>
    </p:spTree>
    <p:extLst>
      <p:ext uri="{BB962C8B-B14F-4D97-AF65-F5344CB8AC3E}">
        <p14:creationId xmlns:p14="http://schemas.microsoft.com/office/powerpoint/2010/main" val="387529238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C4BCA31-6502-4A73-AD02-A3880BE760C4}"/>
              </a:ext>
            </a:extLst>
          </p:cNvPr>
          <p:cNvSpPr>
            <a:spLocks noGrp="1"/>
          </p:cNvSpPr>
          <p:nvPr>
            <p:ph type="dt" sz="half" idx="10"/>
          </p:nvPr>
        </p:nvSpPr>
        <p:spPr/>
        <p:txBody>
          <a:bodyPr/>
          <a:lstStyle/>
          <a:p>
            <a:fld id="{FDC1AC40-397F-449F-8E76-697FF1297A82}" type="datetimeFigureOut">
              <a:rPr lang="en-US" smtClean="0"/>
              <a:t>11/7/2022</a:t>
            </a:fld>
            <a:endParaRPr lang="en-US"/>
          </a:p>
        </p:txBody>
      </p:sp>
      <p:sp>
        <p:nvSpPr>
          <p:cNvPr id="3" name="Footer Placeholder 2">
            <a:extLst>
              <a:ext uri="{FF2B5EF4-FFF2-40B4-BE49-F238E27FC236}">
                <a16:creationId xmlns:a16="http://schemas.microsoft.com/office/drawing/2014/main" id="{2C5D3FFA-0754-4F16-961D-736A7B81B370}"/>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C358866-F6F7-4E5C-B139-EB133AE8E4C4}"/>
              </a:ext>
            </a:extLst>
          </p:cNvPr>
          <p:cNvSpPr>
            <a:spLocks noGrp="1"/>
          </p:cNvSpPr>
          <p:nvPr>
            <p:ph type="sldNum" sz="quarter" idx="12"/>
          </p:nvPr>
        </p:nvSpPr>
        <p:spPr/>
        <p:txBody>
          <a:bodyPr/>
          <a:lstStyle/>
          <a:p>
            <a:fld id="{FEFE127A-B36E-4672-AB40-D6C463D3C51B}" type="slidenum">
              <a:rPr lang="en-US" smtClean="0"/>
              <a:t>‹#›</a:t>
            </a:fld>
            <a:endParaRPr lang="en-US"/>
          </a:p>
        </p:txBody>
      </p:sp>
    </p:spTree>
    <p:extLst>
      <p:ext uri="{BB962C8B-B14F-4D97-AF65-F5344CB8AC3E}">
        <p14:creationId xmlns:p14="http://schemas.microsoft.com/office/powerpoint/2010/main" val="265133061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E0EFF7-8280-4B87-A2BF-F43DEB25E1E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6FDBC75-C94B-49EE-9CE3-CAA21534DFF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78124E3-BC83-49F5-9E8D-0EEAFFED027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D62769C-A529-4574-B2EA-7238CA766D40}"/>
              </a:ext>
            </a:extLst>
          </p:cNvPr>
          <p:cNvSpPr>
            <a:spLocks noGrp="1"/>
          </p:cNvSpPr>
          <p:nvPr>
            <p:ph type="dt" sz="half" idx="10"/>
          </p:nvPr>
        </p:nvSpPr>
        <p:spPr/>
        <p:txBody>
          <a:bodyPr/>
          <a:lstStyle/>
          <a:p>
            <a:fld id="{FDC1AC40-397F-449F-8E76-697FF1297A82}" type="datetimeFigureOut">
              <a:rPr lang="en-US" smtClean="0"/>
              <a:t>11/7/2022</a:t>
            </a:fld>
            <a:endParaRPr lang="en-US"/>
          </a:p>
        </p:txBody>
      </p:sp>
      <p:sp>
        <p:nvSpPr>
          <p:cNvPr id="6" name="Footer Placeholder 5">
            <a:extLst>
              <a:ext uri="{FF2B5EF4-FFF2-40B4-BE49-F238E27FC236}">
                <a16:creationId xmlns:a16="http://schemas.microsoft.com/office/drawing/2014/main" id="{64FD957A-3AC1-4555-9D70-297A33734B2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AB37DB7-D195-4A2C-960C-24997110B7E4}"/>
              </a:ext>
            </a:extLst>
          </p:cNvPr>
          <p:cNvSpPr>
            <a:spLocks noGrp="1"/>
          </p:cNvSpPr>
          <p:nvPr>
            <p:ph type="sldNum" sz="quarter" idx="12"/>
          </p:nvPr>
        </p:nvSpPr>
        <p:spPr/>
        <p:txBody>
          <a:bodyPr/>
          <a:lstStyle/>
          <a:p>
            <a:fld id="{FEFE127A-B36E-4672-AB40-D6C463D3C51B}" type="slidenum">
              <a:rPr lang="en-US" smtClean="0"/>
              <a:t>‹#›</a:t>
            </a:fld>
            <a:endParaRPr lang="en-US"/>
          </a:p>
        </p:txBody>
      </p:sp>
    </p:spTree>
    <p:extLst>
      <p:ext uri="{BB962C8B-B14F-4D97-AF65-F5344CB8AC3E}">
        <p14:creationId xmlns:p14="http://schemas.microsoft.com/office/powerpoint/2010/main" val="59440147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A73E92-E16B-4F18-8B5F-0D6FB336540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78BBEAA6-F92A-4E02-B8B8-3911745FD2C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90C7EF20-D6A8-4FD1-A458-25BC185D1E5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C6935E6-EFF0-40C7-BE4B-295E1298B584}"/>
              </a:ext>
            </a:extLst>
          </p:cNvPr>
          <p:cNvSpPr>
            <a:spLocks noGrp="1"/>
          </p:cNvSpPr>
          <p:nvPr>
            <p:ph type="dt" sz="half" idx="10"/>
          </p:nvPr>
        </p:nvSpPr>
        <p:spPr/>
        <p:txBody>
          <a:bodyPr/>
          <a:lstStyle/>
          <a:p>
            <a:fld id="{FDC1AC40-397F-449F-8E76-697FF1297A82}" type="datetimeFigureOut">
              <a:rPr lang="en-US" smtClean="0"/>
              <a:t>11/7/2022</a:t>
            </a:fld>
            <a:endParaRPr lang="en-US"/>
          </a:p>
        </p:txBody>
      </p:sp>
      <p:sp>
        <p:nvSpPr>
          <p:cNvPr id="6" name="Footer Placeholder 5">
            <a:extLst>
              <a:ext uri="{FF2B5EF4-FFF2-40B4-BE49-F238E27FC236}">
                <a16:creationId xmlns:a16="http://schemas.microsoft.com/office/drawing/2014/main" id="{93ADC397-E4AE-496F-A5D3-7E9733FB986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9932F22-223F-497C-A763-032DA1CE5567}"/>
              </a:ext>
            </a:extLst>
          </p:cNvPr>
          <p:cNvSpPr>
            <a:spLocks noGrp="1"/>
          </p:cNvSpPr>
          <p:nvPr>
            <p:ph type="sldNum" sz="quarter" idx="12"/>
          </p:nvPr>
        </p:nvSpPr>
        <p:spPr/>
        <p:txBody>
          <a:bodyPr/>
          <a:lstStyle/>
          <a:p>
            <a:fld id="{FEFE127A-B36E-4672-AB40-D6C463D3C51B}" type="slidenum">
              <a:rPr lang="en-US" smtClean="0"/>
              <a:t>‹#›</a:t>
            </a:fld>
            <a:endParaRPr lang="en-US"/>
          </a:p>
        </p:txBody>
      </p:sp>
    </p:spTree>
    <p:extLst>
      <p:ext uri="{BB962C8B-B14F-4D97-AF65-F5344CB8AC3E}">
        <p14:creationId xmlns:p14="http://schemas.microsoft.com/office/powerpoint/2010/main" val="45287742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96C0FB-D560-4324-B252-073C6595EDB0}"/>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B189C6B-6E60-4934-9C72-63E37FF14D8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ECBA576-4AE7-4CA0-B744-0CAA58E0FC48}"/>
              </a:ext>
            </a:extLst>
          </p:cNvPr>
          <p:cNvSpPr>
            <a:spLocks noGrp="1"/>
          </p:cNvSpPr>
          <p:nvPr>
            <p:ph type="dt" sz="half" idx="10"/>
          </p:nvPr>
        </p:nvSpPr>
        <p:spPr/>
        <p:txBody>
          <a:bodyPr/>
          <a:lstStyle/>
          <a:p>
            <a:fld id="{FDC1AC40-397F-449F-8E76-697FF1297A82}" type="datetimeFigureOut">
              <a:rPr lang="en-US" smtClean="0"/>
              <a:t>11/7/2022</a:t>
            </a:fld>
            <a:endParaRPr lang="en-US"/>
          </a:p>
        </p:txBody>
      </p:sp>
      <p:sp>
        <p:nvSpPr>
          <p:cNvPr id="5" name="Footer Placeholder 4">
            <a:extLst>
              <a:ext uri="{FF2B5EF4-FFF2-40B4-BE49-F238E27FC236}">
                <a16:creationId xmlns:a16="http://schemas.microsoft.com/office/drawing/2014/main" id="{BB7BB446-2F15-4FF5-8913-81696B8238D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35EEF54-73F1-4013-805A-26A551A2D78B}"/>
              </a:ext>
            </a:extLst>
          </p:cNvPr>
          <p:cNvSpPr>
            <a:spLocks noGrp="1"/>
          </p:cNvSpPr>
          <p:nvPr>
            <p:ph type="sldNum" sz="quarter" idx="12"/>
          </p:nvPr>
        </p:nvSpPr>
        <p:spPr/>
        <p:txBody>
          <a:bodyPr/>
          <a:lstStyle/>
          <a:p>
            <a:fld id="{FEFE127A-B36E-4672-AB40-D6C463D3C51B}" type="slidenum">
              <a:rPr lang="en-US" smtClean="0"/>
              <a:t>‹#›</a:t>
            </a:fld>
            <a:endParaRPr lang="en-US"/>
          </a:p>
        </p:txBody>
      </p:sp>
    </p:spTree>
    <p:extLst>
      <p:ext uri="{BB962C8B-B14F-4D97-AF65-F5344CB8AC3E}">
        <p14:creationId xmlns:p14="http://schemas.microsoft.com/office/powerpoint/2010/main" val="139883084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35A9513-051F-4D59-92D6-E4021B687AF9}"/>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984EEB2-0D64-41A5-B98E-98DF75DB530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62620BF-37DB-4D02-9121-F213B2C47B4C}"/>
              </a:ext>
            </a:extLst>
          </p:cNvPr>
          <p:cNvSpPr>
            <a:spLocks noGrp="1"/>
          </p:cNvSpPr>
          <p:nvPr>
            <p:ph type="dt" sz="half" idx="10"/>
          </p:nvPr>
        </p:nvSpPr>
        <p:spPr/>
        <p:txBody>
          <a:bodyPr/>
          <a:lstStyle/>
          <a:p>
            <a:fld id="{FDC1AC40-397F-449F-8E76-697FF1297A82}" type="datetimeFigureOut">
              <a:rPr lang="en-US" smtClean="0"/>
              <a:t>11/7/2022</a:t>
            </a:fld>
            <a:endParaRPr lang="en-US"/>
          </a:p>
        </p:txBody>
      </p:sp>
      <p:sp>
        <p:nvSpPr>
          <p:cNvPr id="5" name="Footer Placeholder 4">
            <a:extLst>
              <a:ext uri="{FF2B5EF4-FFF2-40B4-BE49-F238E27FC236}">
                <a16:creationId xmlns:a16="http://schemas.microsoft.com/office/drawing/2014/main" id="{798EAF05-F51C-457A-A4E9-B791E2A5538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DD085EA-F9B0-4CF4-9319-B7C2B2CEC28D}"/>
              </a:ext>
            </a:extLst>
          </p:cNvPr>
          <p:cNvSpPr>
            <a:spLocks noGrp="1"/>
          </p:cNvSpPr>
          <p:nvPr>
            <p:ph type="sldNum" sz="quarter" idx="12"/>
          </p:nvPr>
        </p:nvSpPr>
        <p:spPr/>
        <p:txBody>
          <a:bodyPr/>
          <a:lstStyle/>
          <a:p>
            <a:fld id="{FEFE127A-B36E-4672-AB40-D6C463D3C51B}" type="slidenum">
              <a:rPr lang="en-US" smtClean="0"/>
              <a:t>‹#›</a:t>
            </a:fld>
            <a:endParaRPr lang="en-US"/>
          </a:p>
        </p:txBody>
      </p:sp>
    </p:spTree>
    <p:extLst>
      <p:ext uri="{BB962C8B-B14F-4D97-AF65-F5344CB8AC3E}">
        <p14:creationId xmlns:p14="http://schemas.microsoft.com/office/powerpoint/2010/main" val="39523758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5" y="1447577"/>
            <a:ext cx="4932478"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731" kern="120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731" kern="120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731" kern="120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6 global revenues of EUR 12.5 billion.</a:t>
            </a:r>
          </a:p>
        </p:txBody>
      </p:sp>
      <p:sp>
        <p:nvSpPr>
          <p:cNvPr id="48" name="Rectangle 47"/>
          <p:cNvSpPr/>
          <p:nvPr userDrawn="1"/>
        </p:nvSpPr>
        <p:spPr>
          <a:xfrm>
            <a:off x="426523" y="1068315"/>
            <a:ext cx="2219961" cy="1841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1624"/>
              </a:lnSpc>
            </a:pPr>
            <a:r>
              <a:rPr lang="en-US" sz="1138">
                <a:solidFill>
                  <a:schemeClr val="accent1"/>
                </a:solidFill>
              </a:rPr>
              <a:t>About Capgemini</a:t>
            </a:r>
          </a:p>
        </p:txBody>
      </p:sp>
      <p:sp>
        <p:nvSpPr>
          <p:cNvPr id="49" name="Rectangle 48"/>
          <p:cNvSpPr/>
          <p:nvPr userDrawn="1"/>
        </p:nvSpPr>
        <p:spPr>
          <a:xfrm>
            <a:off x="426523" y="2797063"/>
            <a:ext cx="2057401" cy="4072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975"/>
              </a:lnSpc>
              <a:spcAft>
                <a:spcPts val="488"/>
              </a:spcAft>
            </a:pPr>
            <a:r>
              <a:rPr lang="en-US" sz="731">
                <a:solidFill>
                  <a:schemeClr val="tx1"/>
                </a:solidFill>
              </a:rPr>
              <a:t>Learn more about us at</a:t>
            </a:r>
          </a:p>
          <a:p>
            <a:pPr algn="just">
              <a:lnSpc>
                <a:spcPts val="975"/>
              </a:lnSpc>
            </a:pPr>
            <a:r>
              <a:rPr lang="en-US" sz="1138">
                <a:solidFill>
                  <a:schemeClr val="accent2"/>
                </a:solidFill>
              </a:rPr>
              <a:t>www.capgemini.com</a:t>
            </a:r>
          </a:p>
        </p:txBody>
      </p:sp>
      <p:pic>
        <p:nvPicPr>
          <p:cNvPr id="50" name="Picture 2" descr="D:\My Work\Template\Icons\Social Media\LinkedIN.png">
            <a:hlinkClick r:id="rId6"/>
          </p:cNvPr>
          <p:cNvPicPr>
            <a:picLocks noChangeAspect="1" noChangeArrowheads="1"/>
          </p:cNvPicPr>
          <p:nvPr userDrawn="1"/>
        </p:nvPicPr>
        <p:blipFill>
          <a:blip r:embed="rId7" cstate="email">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810099" y="4829462"/>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email">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1193478" y="4829462"/>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email">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1576854" y="4829462"/>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email">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1960228" y="4829462"/>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email">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426722" y="4829462"/>
            <a:ext cx="333195" cy="333195"/>
          </a:xfrm>
          <a:prstGeom prst="rect">
            <a:avLst/>
          </a:prstGeom>
          <a:noFill/>
        </p:spPr>
      </p:pic>
      <p:sp>
        <p:nvSpPr>
          <p:cNvPr id="57" name="Rectangle 56"/>
          <p:cNvSpPr/>
          <p:nvPr userDrawn="1"/>
        </p:nvSpPr>
        <p:spPr>
          <a:xfrm>
            <a:off x="426723" y="5940264"/>
            <a:ext cx="4198620" cy="300082"/>
          </a:xfrm>
          <a:prstGeom prst="rect">
            <a:avLst/>
          </a:prstGeom>
        </p:spPr>
        <p:txBody>
          <a:bodyPr wrap="square" lIns="0" tIns="0" rIns="0" bIns="0" anchor="b" anchorCtr="0">
            <a:spAutoFit/>
          </a:bodyPr>
          <a:lstStyle/>
          <a:p>
            <a:pPr>
              <a:spcAft>
                <a:spcPts val="488"/>
              </a:spcAft>
            </a:pPr>
            <a:r>
              <a:rPr lang="en-US" sz="650" noProof="0">
                <a:latin typeface="+mn-lt"/>
                <a:cs typeface="Arial"/>
              </a:rPr>
              <a:t>This presentation</a:t>
            </a:r>
            <a:r>
              <a:rPr lang="en-US" sz="650" baseline="0" noProof="0">
                <a:latin typeface="+mn-lt"/>
                <a:cs typeface="Arial"/>
              </a:rPr>
              <a:t> </a:t>
            </a:r>
            <a:r>
              <a:rPr lang="en-US" sz="650" noProof="0">
                <a:latin typeface="+mn-lt"/>
                <a:cs typeface="Arial"/>
              </a:rPr>
              <a:t>contains information that may be privileged or confidential and is the property of the Capgemini Group.</a:t>
            </a:r>
            <a:br>
              <a:rPr lang="en-US" sz="650" noProof="0">
                <a:latin typeface="+mn-lt"/>
                <a:cs typeface="Arial"/>
              </a:rPr>
            </a:br>
            <a:r>
              <a:rPr lang="en-US" sz="650" noProof="0">
                <a:latin typeface="Arial"/>
                <a:cs typeface="Arial"/>
              </a:rPr>
              <a:t>Copyright © 2018 Capgemini. All rights reserved.</a:t>
            </a:r>
          </a:p>
        </p:txBody>
      </p:sp>
      <p:sp>
        <p:nvSpPr>
          <p:cNvPr id="60" name="Rectangle 59"/>
          <p:cNvSpPr/>
          <p:nvPr>
            <p:custDataLst>
              <p:tags r:id="rId1"/>
            </p:custDataLst>
          </p:nvPr>
        </p:nvSpPr>
        <p:spPr>
          <a:xfrm>
            <a:off x="6324599" y="1068318"/>
            <a:ext cx="2240281" cy="844911"/>
          </a:xfrm>
          <a:prstGeom prst="rect">
            <a:avLst/>
          </a:prstGeom>
        </p:spPr>
        <p:txBody>
          <a:bodyPr wrap="square" lIns="0" tIns="0" rIns="0" bIns="0">
            <a:spAutoFit/>
          </a:bodyPr>
          <a:lstStyle/>
          <a:p>
            <a:pPr>
              <a:spcAft>
                <a:spcPts val="488"/>
              </a:spcAft>
            </a:pPr>
            <a:r>
              <a:rPr lang="en-US" sz="975" b="1">
                <a:solidFill>
                  <a:schemeClr val="accent1"/>
                </a:solidFill>
                <a:cs typeface="Arial"/>
              </a:rPr>
              <a:t>Name, Last Name</a:t>
            </a:r>
          </a:p>
          <a:p>
            <a:pPr>
              <a:lnSpc>
                <a:spcPts val="975"/>
              </a:lnSpc>
            </a:pPr>
            <a:r>
              <a:rPr lang="en-US" sz="813">
                <a:solidFill>
                  <a:schemeClr val="accent2"/>
                </a:solidFill>
                <a:cs typeface="Arial"/>
              </a:rPr>
              <a:t>Title/Role</a:t>
            </a:r>
          </a:p>
          <a:p>
            <a:pPr>
              <a:lnSpc>
                <a:spcPts val="975"/>
              </a:lnSpc>
            </a:pPr>
            <a:r>
              <a:rPr lang="en-US" sz="813">
                <a:cs typeface="Arial"/>
              </a:rPr>
              <a:t>Capgemini Office (Optional)</a:t>
            </a:r>
          </a:p>
          <a:p>
            <a:pPr>
              <a:lnSpc>
                <a:spcPts val="975"/>
              </a:lnSpc>
            </a:pPr>
            <a:r>
              <a:rPr lang="en-US" sz="813">
                <a:cs typeface="Arial"/>
              </a:rPr>
              <a:t>Address Line 1</a:t>
            </a:r>
          </a:p>
          <a:p>
            <a:pPr>
              <a:lnSpc>
                <a:spcPts val="975"/>
              </a:lnSpc>
            </a:pPr>
            <a:r>
              <a:rPr lang="en-US" sz="813">
                <a:cs typeface="Arial"/>
              </a:rPr>
              <a:t>Address Line 2 </a:t>
            </a:r>
          </a:p>
          <a:p>
            <a:pPr>
              <a:lnSpc>
                <a:spcPts val="975"/>
              </a:lnSpc>
            </a:pPr>
            <a:r>
              <a:rPr lang="en-US" sz="813">
                <a:cs typeface="Arial"/>
              </a:rPr>
              <a:t>Address Line 3</a:t>
            </a:r>
          </a:p>
        </p:txBody>
      </p:sp>
      <p:sp>
        <p:nvSpPr>
          <p:cNvPr id="61" name="Rectangle 60"/>
          <p:cNvSpPr/>
          <p:nvPr>
            <p:custDataLst>
              <p:tags r:id="rId2"/>
            </p:custDataLst>
          </p:nvPr>
        </p:nvSpPr>
        <p:spPr>
          <a:xfrm>
            <a:off x="9499997" y="1068318"/>
            <a:ext cx="2240281" cy="844911"/>
          </a:xfrm>
          <a:prstGeom prst="rect">
            <a:avLst/>
          </a:prstGeom>
        </p:spPr>
        <p:txBody>
          <a:bodyPr wrap="square" lIns="0" tIns="0" rIns="0" bIns="0">
            <a:spAutoFit/>
          </a:bodyPr>
          <a:lstStyle/>
          <a:p>
            <a:pPr>
              <a:spcAft>
                <a:spcPts val="488"/>
              </a:spcAft>
            </a:pPr>
            <a:r>
              <a:rPr lang="en-US" sz="975" b="1">
                <a:solidFill>
                  <a:schemeClr val="accent1"/>
                </a:solidFill>
                <a:cs typeface="Arial"/>
              </a:rPr>
              <a:t>Name, Last Name</a:t>
            </a:r>
          </a:p>
          <a:p>
            <a:pPr>
              <a:lnSpc>
                <a:spcPts val="975"/>
              </a:lnSpc>
            </a:pPr>
            <a:r>
              <a:rPr lang="en-US" sz="813">
                <a:solidFill>
                  <a:schemeClr val="accent2"/>
                </a:solidFill>
                <a:cs typeface="Arial"/>
              </a:rPr>
              <a:t>Title/Role</a:t>
            </a:r>
          </a:p>
          <a:p>
            <a:pPr>
              <a:lnSpc>
                <a:spcPts val="975"/>
              </a:lnSpc>
            </a:pPr>
            <a:r>
              <a:rPr lang="en-US" sz="813">
                <a:cs typeface="Arial"/>
              </a:rPr>
              <a:t>Capgemini Office (Optional)</a:t>
            </a:r>
          </a:p>
          <a:p>
            <a:pPr>
              <a:lnSpc>
                <a:spcPts val="975"/>
              </a:lnSpc>
            </a:pPr>
            <a:r>
              <a:rPr lang="en-US" sz="813">
                <a:cs typeface="Arial"/>
              </a:rPr>
              <a:t>Address Line 1</a:t>
            </a:r>
          </a:p>
          <a:p>
            <a:pPr>
              <a:lnSpc>
                <a:spcPts val="975"/>
              </a:lnSpc>
            </a:pPr>
            <a:r>
              <a:rPr lang="en-US" sz="813">
                <a:cs typeface="Arial"/>
              </a:rPr>
              <a:t>Address Line 2 </a:t>
            </a:r>
          </a:p>
          <a:p>
            <a:pPr>
              <a:lnSpc>
                <a:spcPts val="975"/>
              </a:lnSpc>
            </a:pPr>
            <a:r>
              <a:rPr lang="en-US" sz="813">
                <a:cs typeface="Arial"/>
              </a:rPr>
              <a:t>Address Line 3</a:t>
            </a:r>
          </a:p>
        </p:txBody>
      </p:sp>
      <p:sp>
        <p:nvSpPr>
          <p:cNvPr id="62" name="Rectangle 61"/>
          <p:cNvSpPr/>
          <p:nvPr>
            <p:custDataLst>
              <p:tags r:id="rId3"/>
            </p:custDataLst>
          </p:nvPr>
        </p:nvSpPr>
        <p:spPr>
          <a:xfrm>
            <a:off x="6324599" y="2332244"/>
            <a:ext cx="2240281" cy="844911"/>
          </a:xfrm>
          <a:prstGeom prst="rect">
            <a:avLst/>
          </a:prstGeom>
        </p:spPr>
        <p:txBody>
          <a:bodyPr wrap="square" lIns="0" tIns="0" rIns="0" bIns="0">
            <a:spAutoFit/>
          </a:bodyPr>
          <a:lstStyle/>
          <a:p>
            <a:pPr>
              <a:spcAft>
                <a:spcPts val="488"/>
              </a:spcAft>
            </a:pPr>
            <a:r>
              <a:rPr lang="en-US" sz="975" b="1">
                <a:solidFill>
                  <a:schemeClr val="accent1"/>
                </a:solidFill>
                <a:cs typeface="Arial"/>
              </a:rPr>
              <a:t>Name, Last Name</a:t>
            </a:r>
          </a:p>
          <a:p>
            <a:pPr>
              <a:lnSpc>
                <a:spcPts val="975"/>
              </a:lnSpc>
            </a:pPr>
            <a:r>
              <a:rPr lang="en-US" sz="813">
                <a:solidFill>
                  <a:schemeClr val="accent2"/>
                </a:solidFill>
                <a:cs typeface="Arial"/>
              </a:rPr>
              <a:t>Title/Role</a:t>
            </a:r>
          </a:p>
          <a:p>
            <a:pPr>
              <a:lnSpc>
                <a:spcPts val="975"/>
              </a:lnSpc>
            </a:pPr>
            <a:r>
              <a:rPr lang="en-US" sz="813">
                <a:cs typeface="Arial"/>
              </a:rPr>
              <a:t>Capgemini Office (Optional)</a:t>
            </a:r>
          </a:p>
          <a:p>
            <a:pPr>
              <a:lnSpc>
                <a:spcPts val="975"/>
              </a:lnSpc>
            </a:pPr>
            <a:r>
              <a:rPr lang="en-US" sz="813">
                <a:cs typeface="Arial"/>
              </a:rPr>
              <a:t>Address Line 1</a:t>
            </a:r>
          </a:p>
          <a:p>
            <a:pPr>
              <a:lnSpc>
                <a:spcPts val="975"/>
              </a:lnSpc>
            </a:pPr>
            <a:r>
              <a:rPr lang="en-US" sz="813">
                <a:cs typeface="Arial"/>
              </a:rPr>
              <a:t>Address Line 2 </a:t>
            </a:r>
          </a:p>
          <a:p>
            <a:pPr>
              <a:lnSpc>
                <a:spcPts val="975"/>
              </a:lnSpc>
            </a:pPr>
            <a:r>
              <a:rPr lang="en-US" sz="813">
                <a:cs typeface="Arial"/>
              </a:rPr>
              <a:t>Address Line 3</a:t>
            </a:r>
          </a:p>
        </p:txBody>
      </p:sp>
      <p:sp>
        <p:nvSpPr>
          <p:cNvPr id="63" name="Rectangle 62"/>
          <p:cNvSpPr/>
          <p:nvPr>
            <p:custDataLst>
              <p:tags r:id="rId4"/>
            </p:custDataLst>
          </p:nvPr>
        </p:nvSpPr>
        <p:spPr>
          <a:xfrm>
            <a:off x="9499997" y="2332244"/>
            <a:ext cx="2240281" cy="844911"/>
          </a:xfrm>
          <a:prstGeom prst="rect">
            <a:avLst/>
          </a:prstGeom>
        </p:spPr>
        <p:txBody>
          <a:bodyPr wrap="square" lIns="0" tIns="0" rIns="0" bIns="0">
            <a:spAutoFit/>
          </a:bodyPr>
          <a:lstStyle/>
          <a:p>
            <a:pPr>
              <a:spcAft>
                <a:spcPts val="488"/>
              </a:spcAft>
            </a:pPr>
            <a:r>
              <a:rPr lang="en-US" sz="975" b="1">
                <a:solidFill>
                  <a:schemeClr val="accent1"/>
                </a:solidFill>
                <a:cs typeface="Arial"/>
              </a:rPr>
              <a:t>Name, Last Name</a:t>
            </a:r>
          </a:p>
          <a:p>
            <a:pPr>
              <a:lnSpc>
                <a:spcPts val="975"/>
              </a:lnSpc>
            </a:pPr>
            <a:r>
              <a:rPr lang="en-US" sz="813">
                <a:solidFill>
                  <a:schemeClr val="accent2"/>
                </a:solidFill>
                <a:cs typeface="Arial"/>
              </a:rPr>
              <a:t>Title/Role</a:t>
            </a:r>
          </a:p>
          <a:p>
            <a:pPr>
              <a:lnSpc>
                <a:spcPts val="975"/>
              </a:lnSpc>
            </a:pPr>
            <a:r>
              <a:rPr lang="en-US" sz="813">
                <a:cs typeface="Arial"/>
              </a:rPr>
              <a:t>Capgemini Office (Optional)</a:t>
            </a:r>
          </a:p>
          <a:p>
            <a:pPr>
              <a:lnSpc>
                <a:spcPts val="975"/>
              </a:lnSpc>
            </a:pPr>
            <a:r>
              <a:rPr lang="en-US" sz="813">
                <a:cs typeface="Arial"/>
              </a:rPr>
              <a:t>Address Line 1</a:t>
            </a:r>
          </a:p>
          <a:p>
            <a:pPr>
              <a:lnSpc>
                <a:spcPts val="975"/>
              </a:lnSpc>
            </a:pPr>
            <a:r>
              <a:rPr lang="en-US" sz="813">
                <a:cs typeface="Arial"/>
              </a:rPr>
              <a:t>Address Line 2 </a:t>
            </a:r>
          </a:p>
          <a:p>
            <a:pPr>
              <a:lnSpc>
                <a:spcPts val="975"/>
              </a:lnSpc>
            </a:pPr>
            <a:r>
              <a:rPr lang="en-US" sz="813">
                <a:cs typeface="Arial"/>
              </a:rPr>
              <a:t>Address Line 3</a:t>
            </a:r>
          </a:p>
        </p:txBody>
      </p:sp>
      <p:cxnSp>
        <p:nvCxnSpPr>
          <p:cNvPr id="64" name="Straight Connector 63"/>
          <p:cNvCxnSpPr/>
          <p:nvPr userDrawn="1"/>
        </p:nvCxnSpPr>
        <p:spPr>
          <a:xfrm flipV="1">
            <a:off x="6096001" y="1113937"/>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7" name="Rectangle 66">
            <a:hlinkClick r:id="rId21"/>
          </p:cNvPr>
          <p:cNvSpPr/>
          <p:nvPr userDrawn="1"/>
        </p:nvSpPr>
        <p:spPr>
          <a:xfrm>
            <a:off x="1384378" y="2375214"/>
            <a:ext cx="2336089"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38"/>
          </a:p>
        </p:txBody>
      </p:sp>
      <p:sp>
        <p:nvSpPr>
          <p:cNvPr id="68" name="Rectangle 67">
            <a:hlinkClick r:id="rId22"/>
          </p:cNvPr>
          <p:cNvSpPr/>
          <p:nvPr userDrawn="1"/>
        </p:nvSpPr>
        <p:spPr>
          <a:xfrm>
            <a:off x="4625344" y="237521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38"/>
          </a:p>
        </p:txBody>
      </p:sp>
      <p:sp>
        <p:nvSpPr>
          <p:cNvPr id="69" name="Rectangle 68">
            <a:hlinkClick r:id="rId23"/>
          </p:cNvPr>
          <p:cNvSpPr/>
          <p:nvPr userDrawn="1"/>
        </p:nvSpPr>
        <p:spPr>
          <a:xfrm>
            <a:off x="426720" y="3008765"/>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38"/>
          </a:p>
        </p:txBody>
      </p:sp>
      <p:sp>
        <p:nvSpPr>
          <p:cNvPr id="2" name="ZoneTexte 1"/>
          <p:cNvSpPr txBox="1"/>
          <p:nvPr userDrawn="1"/>
        </p:nvSpPr>
        <p:spPr>
          <a:xfrm>
            <a:off x="419257" y="5204672"/>
            <a:ext cx="2055050" cy="242374"/>
          </a:xfrm>
          <a:prstGeom prst="rect">
            <a:avLst/>
          </a:prstGeom>
          <a:noFill/>
        </p:spPr>
        <p:txBody>
          <a:bodyPr wrap="none" lIns="0" rIns="0" rtlCol="0">
            <a:spAutoFit/>
          </a:bodyPr>
          <a:lstStyle/>
          <a:p>
            <a:r>
              <a:rPr lang="en-US" sz="975" b="1">
                <a:solidFill>
                  <a:schemeClr val="accent1"/>
                </a:solidFill>
              </a:rPr>
              <a:t>People matter, results count.</a:t>
            </a:r>
          </a:p>
        </p:txBody>
      </p:sp>
    </p:spTree>
    <p:extLst>
      <p:ext uri="{BB962C8B-B14F-4D97-AF65-F5344CB8AC3E}">
        <p14:creationId xmlns:p14="http://schemas.microsoft.com/office/powerpoint/2010/main" val="4251486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Content Master">
    <p:bg>
      <p:bgPr>
        <a:solidFill>
          <a:srgbClr val="EDEDED"/>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sz="2400"/>
            </a:lvl1pPr>
          </a:lstStyle>
          <a:p>
            <a:r>
              <a:rPr lang="en-US" noProof="0"/>
              <a:t>Click to edit Master title style</a:t>
            </a:r>
            <a:endParaRPr lang="en-US"/>
          </a:p>
        </p:txBody>
      </p:sp>
    </p:spTree>
    <p:extLst>
      <p:ext uri="{BB962C8B-B14F-4D97-AF65-F5344CB8AC3E}">
        <p14:creationId xmlns:p14="http://schemas.microsoft.com/office/powerpoint/2010/main" val="355211402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3_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590" y="1594"/>
          <a:ext cx="158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7" name="Object 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90" y="1594"/>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rot="10800000" flipH="1">
            <a:off x="6038854" y="836069"/>
            <a:ext cx="6224197" cy="6047723"/>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5"/>
          </a:solidFill>
          <a:ln w="9525">
            <a:noFill/>
            <a:round/>
            <a:headEnd/>
            <a:tailEnd/>
          </a:ln>
        </p:spPr>
        <p:txBody>
          <a:bodyPr vert="horz" wrap="square" lIns="74256" tIns="37128" rIns="74256" bIns="37128" numCol="1" anchor="t" anchorCtr="0" compatLnSpc="1">
            <a:prstTxWarp prst="textNoShape">
              <a:avLst/>
            </a:prstTxWarp>
          </a:bodyPr>
          <a:lstStyle/>
          <a:p>
            <a:endParaRPr lang="en-GB" sz="1138"/>
          </a:p>
        </p:txBody>
      </p:sp>
      <p:sp>
        <p:nvSpPr>
          <p:cNvPr id="11" name="Title 1"/>
          <p:cNvSpPr>
            <a:spLocks noGrp="1"/>
          </p:cNvSpPr>
          <p:nvPr>
            <p:ph type="ctrTitle" hasCustomPrompt="1"/>
          </p:nvPr>
        </p:nvSpPr>
        <p:spPr>
          <a:xfrm>
            <a:off x="407991" y="1358157"/>
            <a:ext cx="4774258" cy="1475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3249" b="0" i="0" dirty="0">
                <a:solidFill>
                  <a:schemeClr val="accent1"/>
                </a:solidFill>
                <a:latin typeface="Ubuntu Light" panose="020B0304030602030204" pitchFamily="34" charset="0"/>
              </a:defRPr>
            </a:lvl1pPr>
          </a:lstStyle>
          <a:p>
            <a:pPr marL="0" lvl="0"/>
            <a:r>
              <a:rPr lang="en-US"/>
              <a:t>Click to insert title</a:t>
            </a:r>
          </a:p>
        </p:txBody>
      </p:sp>
      <p:sp>
        <p:nvSpPr>
          <p:cNvPr id="12" name="Subtitle 2"/>
          <p:cNvSpPr>
            <a:spLocks noGrp="1"/>
          </p:cNvSpPr>
          <p:nvPr>
            <p:ph type="subTitle" idx="1" hasCustomPrompt="1"/>
          </p:nvPr>
        </p:nvSpPr>
        <p:spPr>
          <a:xfrm>
            <a:off x="407989" y="2976184"/>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742541" rtl="0" eaLnBrk="1" fontAlgn="auto" latinLnBrk="0" hangingPunct="1">
              <a:lnSpc>
                <a:spcPct val="90000"/>
              </a:lnSpc>
              <a:spcBef>
                <a:spcPts val="813"/>
              </a:spcBef>
              <a:spcAft>
                <a:spcPts val="0"/>
              </a:spcAft>
              <a:buClrTx/>
              <a:buSzTx/>
              <a:buFont typeface="Arial" panose="020B0604020202020204" pitchFamily="34" charset="0"/>
              <a:buNone/>
              <a:tabLst/>
              <a:defRPr lang="en-US" sz="1300" b="0" i="0" dirty="0">
                <a:solidFill>
                  <a:schemeClr val="accent2"/>
                </a:solidFill>
                <a:latin typeface="Ubuntu Light" panose="020B0304030602030204" pitchFamily="34" charset="0"/>
              </a:defRPr>
            </a:lvl1pPr>
          </a:lstStyle>
          <a:p>
            <a:pPr marL="0" lvl="0"/>
            <a:r>
              <a:rPr lang="en-US"/>
              <a:t>Click to insert presenter, location, and date</a:t>
            </a:r>
          </a:p>
        </p:txBody>
      </p:sp>
      <p:grpSp>
        <p:nvGrpSpPr>
          <p:cNvPr id="13" name="Group 14"/>
          <p:cNvGrpSpPr>
            <a:grpSpLocks noChangeAspect="1"/>
          </p:cNvGrpSpPr>
          <p:nvPr userDrawn="1"/>
        </p:nvGrpSpPr>
        <p:grpSpPr>
          <a:xfrm>
            <a:off x="7930816" y="349170"/>
            <a:ext cx="3469313" cy="77347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sz="1138"/>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sz="1138"/>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sz="1138"/>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sz="1138"/>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sz="1138"/>
            </a:p>
          </p:txBody>
        </p:sp>
      </p:grpSp>
      <p:pic>
        <p:nvPicPr>
          <p:cNvPr id="5" name="Picture 4">
            <a:extLst>
              <a:ext uri="{FF2B5EF4-FFF2-40B4-BE49-F238E27FC236}">
                <a16:creationId xmlns:a16="http://schemas.microsoft.com/office/drawing/2014/main" id="{8666A261-EDCC-9640-B902-0155D0548E60}"/>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5659497" y="-949841"/>
            <a:ext cx="6124593" cy="8506379"/>
          </a:xfrm>
          <a:prstGeom prst="rect">
            <a:avLst/>
          </a:prstGeom>
        </p:spPr>
      </p:pic>
    </p:spTree>
    <p:extLst>
      <p:ext uri="{BB962C8B-B14F-4D97-AF65-F5344CB8AC3E}">
        <p14:creationId xmlns:p14="http://schemas.microsoft.com/office/powerpoint/2010/main" val="1739067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452">
          <p15:clr>
            <a:srgbClr val="FBAE40"/>
          </p15:clr>
        </p15:guide>
        <p15:guide id="2" pos="34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90" y="1592"/>
          <a:ext cx="158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90" y="1592"/>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8315954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3_Content &amp; Leadline">
    <p:spTree>
      <p:nvGrpSpPr>
        <p:cNvPr id="1" name=""/>
        <p:cNvGrpSpPr/>
        <p:nvPr/>
      </p:nvGrpSpPr>
      <p:grpSpPr>
        <a:xfrm>
          <a:off x="0" y="0"/>
          <a:ext cx="0" cy="0"/>
          <a:chOff x="0" y="0"/>
          <a:chExt cx="0" cy="0"/>
        </a:xfrm>
      </p:grpSpPr>
      <p:sp>
        <p:nvSpPr>
          <p:cNvPr id="7" name="Freeform 6"/>
          <p:cNvSpPr/>
          <p:nvPr userDrawn="1"/>
        </p:nvSpPr>
        <p:spPr>
          <a:xfrm>
            <a:off x="-1023" y="-12074"/>
            <a:ext cx="12223287" cy="1578395"/>
          </a:xfrm>
          <a:custGeom>
            <a:avLst/>
            <a:gdLst>
              <a:gd name="connsiteX0" fmla="*/ 4549 w 4367284"/>
              <a:gd name="connsiteY0" fmla="*/ 0 h 1287439"/>
              <a:gd name="connsiteX1" fmla="*/ 4226257 w 4367284"/>
              <a:gd name="connsiteY1" fmla="*/ 0 h 1287439"/>
              <a:gd name="connsiteX2" fmla="*/ 4367284 w 4367284"/>
              <a:gd name="connsiteY2" fmla="*/ 746078 h 1287439"/>
              <a:gd name="connsiteX3" fmla="*/ 0 w 4367284"/>
              <a:gd name="connsiteY3" fmla="*/ 1287439 h 1287439"/>
              <a:gd name="connsiteX4" fmla="*/ 4549 w 4367284"/>
              <a:gd name="connsiteY4" fmla="*/ 0 h 1287439"/>
              <a:gd name="connsiteX0" fmla="*/ 4549 w 4367353"/>
              <a:gd name="connsiteY0" fmla="*/ 0 h 1287439"/>
              <a:gd name="connsiteX1" fmla="*/ 4226257 w 4367353"/>
              <a:gd name="connsiteY1" fmla="*/ 0 h 1287439"/>
              <a:gd name="connsiteX2" fmla="*/ 4367284 w 4367353"/>
              <a:gd name="connsiteY2" fmla="*/ 746078 h 1287439"/>
              <a:gd name="connsiteX3" fmla="*/ 0 w 4367353"/>
              <a:gd name="connsiteY3" fmla="*/ 1287439 h 1287439"/>
              <a:gd name="connsiteX4" fmla="*/ 4549 w 4367353"/>
              <a:gd name="connsiteY4" fmla="*/ 0 h 1287439"/>
              <a:gd name="connsiteX0" fmla="*/ 4549 w 4367392"/>
              <a:gd name="connsiteY0" fmla="*/ 0 h 1287439"/>
              <a:gd name="connsiteX1" fmla="*/ 4226257 w 4367392"/>
              <a:gd name="connsiteY1" fmla="*/ 0 h 1287439"/>
              <a:gd name="connsiteX2" fmla="*/ 4367284 w 4367392"/>
              <a:gd name="connsiteY2" fmla="*/ 746078 h 1287439"/>
              <a:gd name="connsiteX3" fmla="*/ 0 w 4367392"/>
              <a:gd name="connsiteY3" fmla="*/ 1287439 h 1287439"/>
              <a:gd name="connsiteX4" fmla="*/ 4549 w 4367392"/>
              <a:gd name="connsiteY4" fmla="*/ 0 h 1287439"/>
              <a:gd name="connsiteX0" fmla="*/ 4549 w 4367392"/>
              <a:gd name="connsiteY0" fmla="*/ 0 h 1287439"/>
              <a:gd name="connsiteX1" fmla="*/ 4226257 w 4367392"/>
              <a:gd name="connsiteY1" fmla="*/ 0 h 1287439"/>
              <a:gd name="connsiteX2" fmla="*/ 4367284 w 4367392"/>
              <a:gd name="connsiteY2" fmla="*/ 746078 h 1287439"/>
              <a:gd name="connsiteX3" fmla="*/ 0 w 4367392"/>
              <a:gd name="connsiteY3" fmla="*/ 1287439 h 1287439"/>
              <a:gd name="connsiteX4" fmla="*/ 4549 w 4367392"/>
              <a:gd name="connsiteY4" fmla="*/ 0 h 1287439"/>
              <a:gd name="connsiteX0" fmla="*/ 4549 w 4367392"/>
              <a:gd name="connsiteY0" fmla="*/ 0 h 1476564"/>
              <a:gd name="connsiteX1" fmla="*/ 4226257 w 4367392"/>
              <a:gd name="connsiteY1" fmla="*/ 0 h 1476564"/>
              <a:gd name="connsiteX2" fmla="*/ 4367284 w 4367392"/>
              <a:gd name="connsiteY2" fmla="*/ 746078 h 1476564"/>
              <a:gd name="connsiteX3" fmla="*/ 0 w 4367392"/>
              <a:gd name="connsiteY3" fmla="*/ 1287439 h 1476564"/>
              <a:gd name="connsiteX4" fmla="*/ 4549 w 4367392"/>
              <a:gd name="connsiteY4" fmla="*/ 0 h 1476564"/>
              <a:gd name="connsiteX0" fmla="*/ 4549 w 4367392"/>
              <a:gd name="connsiteY0" fmla="*/ 0 h 1455845"/>
              <a:gd name="connsiteX1" fmla="*/ 4226257 w 4367392"/>
              <a:gd name="connsiteY1" fmla="*/ 0 h 1455845"/>
              <a:gd name="connsiteX2" fmla="*/ 4367284 w 4367392"/>
              <a:gd name="connsiteY2" fmla="*/ 746078 h 1455845"/>
              <a:gd name="connsiteX3" fmla="*/ 0 w 4367392"/>
              <a:gd name="connsiteY3" fmla="*/ 1287439 h 1455845"/>
              <a:gd name="connsiteX4" fmla="*/ 4549 w 4367392"/>
              <a:gd name="connsiteY4" fmla="*/ 0 h 1455845"/>
              <a:gd name="connsiteX0" fmla="*/ 4549 w 4367392"/>
              <a:gd name="connsiteY0" fmla="*/ 0 h 1474528"/>
              <a:gd name="connsiteX1" fmla="*/ 4226257 w 4367392"/>
              <a:gd name="connsiteY1" fmla="*/ 0 h 1474528"/>
              <a:gd name="connsiteX2" fmla="*/ 4367284 w 4367392"/>
              <a:gd name="connsiteY2" fmla="*/ 746078 h 1474528"/>
              <a:gd name="connsiteX3" fmla="*/ 0 w 4367392"/>
              <a:gd name="connsiteY3" fmla="*/ 1287439 h 1474528"/>
              <a:gd name="connsiteX4" fmla="*/ 4549 w 4367392"/>
              <a:gd name="connsiteY4" fmla="*/ 0 h 1474528"/>
              <a:gd name="connsiteX0" fmla="*/ 453 w 4363296"/>
              <a:gd name="connsiteY0" fmla="*/ 0 h 877187"/>
              <a:gd name="connsiteX1" fmla="*/ 4222161 w 4363296"/>
              <a:gd name="connsiteY1" fmla="*/ 0 h 877187"/>
              <a:gd name="connsiteX2" fmla="*/ 4363188 w 4363296"/>
              <a:gd name="connsiteY2" fmla="*/ 746078 h 877187"/>
              <a:gd name="connsiteX3" fmla="*/ 332 w 4363296"/>
              <a:gd name="connsiteY3" fmla="*/ 384125 h 877187"/>
              <a:gd name="connsiteX4" fmla="*/ 453 w 4363296"/>
              <a:gd name="connsiteY4" fmla="*/ 0 h 877187"/>
              <a:gd name="connsiteX0" fmla="*/ 136 w 4362979"/>
              <a:gd name="connsiteY0" fmla="*/ 0 h 902096"/>
              <a:gd name="connsiteX1" fmla="*/ 4221844 w 4362979"/>
              <a:gd name="connsiteY1" fmla="*/ 0 h 902096"/>
              <a:gd name="connsiteX2" fmla="*/ 4362871 w 4362979"/>
              <a:gd name="connsiteY2" fmla="*/ 746078 h 902096"/>
              <a:gd name="connsiteX3" fmla="*/ 8871 w 4362979"/>
              <a:gd name="connsiteY3" fmla="*/ 454973 h 902096"/>
              <a:gd name="connsiteX4" fmla="*/ 136 w 4362979"/>
              <a:gd name="connsiteY4" fmla="*/ 0 h 902096"/>
              <a:gd name="connsiteX0" fmla="*/ 136 w 4362979"/>
              <a:gd name="connsiteY0" fmla="*/ 0 h 787416"/>
              <a:gd name="connsiteX1" fmla="*/ 4221844 w 4362979"/>
              <a:gd name="connsiteY1" fmla="*/ 0 h 787416"/>
              <a:gd name="connsiteX2" fmla="*/ 4362871 w 4362979"/>
              <a:gd name="connsiteY2" fmla="*/ 746078 h 787416"/>
              <a:gd name="connsiteX3" fmla="*/ 8871 w 4362979"/>
              <a:gd name="connsiteY3" fmla="*/ 454973 h 787416"/>
              <a:gd name="connsiteX4" fmla="*/ 136 w 4362979"/>
              <a:gd name="connsiteY4" fmla="*/ 0 h 787416"/>
              <a:gd name="connsiteX0" fmla="*/ 136 w 4362979"/>
              <a:gd name="connsiteY0" fmla="*/ 0 h 828407"/>
              <a:gd name="connsiteX1" fmla="*/ 4221844 w 4362979"/>
              <a:gd name="connsiteY1" fmla="*/ 0 h 828407"/>
              <a:gd name="connsiteX2" fmla="*/ 4362871 w 4362979"/>
              <a:gd name="connsiteY2" fmla="*/ 746078 h 828407"/>
              <a:gd name="connsiteX3" fmla="*/ 8871 w 4362979"/>
              <a:gd name="connsiteY3" fmla="*/ 454973 h 828407"/>
              <a:gd name="connsiteX4" fmla="*/ 136 w 4362979"/>
              <a:gd name="connsiteY4" fmla="*/ 0 h 828407"/>
              <a:gd name="connsiteX0" fmla="*/ 136 w 4398365"/>
              <a:gd name="connsiteY0" fmla="*/ 0 h 613855"/>
              <a:gd name="connsiteX1" fmla="*/ 4221844 w 4398365"/>
              <a:gd name="connsiteY1" fmla="*/ 0 h 613855"/>
              <a:gd name="connsiteX2" fmla="*/ 4398295 w 4398365"/>
              <a:gd name="connsiteY2" fmla="*/ 506965 h 613855"/>
              <a:gd name="connsiteX3" fmla="*/ 8871 w 4398365"/>
              <a:gd name="connsiteY3" fmla="*/ 454973 h 613855"/>
              <a:gd name="connsiteX4" fmla="*/ 136 w 4398365"/>
              <a:gd name="connsiteY4" fmla="*/ 0 h 613855"/>
              <a:gd name="connsiteX0" fmla="*/ 136 w 4398352"/>
              <a:gd name="connsiteY0" fmla="*/ 0 h 613855"/>
              <a:gd name="connsiteX1" fmla="*/ 4221844 w 4398352"/>
              <a:gd name="connsiteY1" fmla="*/ 0 h 613855"/>
              <a:gd name="connsiteX2" fmla="*/ 4398295 w 4398352"/>
              <a:gd name="connsiteY2" fmla="*/ 506965 h 613855"/>
              <a:gd name="connsiteX3" fmla="*/ 8871 w 4398352"/>
              <a:gd name="connsiteY3" fmla="*/ 454973 h 613855"/>
              <a:gd name="connsiteX4" fmla="*/ 136 w 4398352"/>
              <a:gd name="connsiteY4" fmla="*/ 0 h 613855"/>
              <a:gd name="connsiteX0" fmla="*/ 136 w 4398421"/>
              <a:gd name="connsiteY0" fmla="*/ 0 h 613855"/>
              <a:gd name="connsiteX1" fmla="*/ 4288264 w 4398421"/>
              <a:gd name="connsiteY1" fmla="*/ 4428 h 613855"/>
              <a:gd name="connsiteX2" fmla="*/ 4398295 w 4398421"/>
              <a:gd name="connsiteY2" fmla="*/ 506965 h 613855"/>
              <a:gd name="connsiteX3" fmla="*/ 8871 w 4398421"/>
              <a:gd name="connsiteY3" fmla="*/ 454973 h 613855"/>
              <a:gd name="connsiteX4" fmla="*/ 136 w 4398421"/>
              <a:gd name="connsiteY4" fmla="*/ 0 h 613855"/>
              <a:gd name="connsiteX0" fmla="*/ 136 w 4398421"/>
              <a:gd name="connsiteY0" fmla="*/ 0 h 613855"/>
              <a:gd name="connsiteX1" fmla="*/ 4288264 w 4398421"/>
              <a:gd name="connsiteY1" fmla="*/ 4428 h 613855"/>
              <a:gd name="connsiteX2" fmla="*/ 4398295 w 4398421"/>
              <a:gd name="connsiteY2" fmla="*/ 506965 h 613855"/>
              <a:gd name="connsiteX3" fmla="*/ 8871 w 4398421"/>
              <a:gd name="connsiteY3" fmla="*/ 454973 h 613855"/>
              <a:gd name="connsiteX4" fmla="*/ 136 w 4398421"/>
              <a:gd name="connsiteY4" fmla="*/ 0 h 613855"/>
              <a:gd name="connsiteX0" fmla="*/ 136 w 4482229"/>
              <a:gd name="connsiteY0" fmla="*/ 4428 h 618283"/>
              <a:gd name="connsiteX1" fmla="*/ 4465385 w 4482229"/>
              <a:gd name="connsiteY1" fmla="*/ 0 h 618283"/>
              <a:gd name="connsiteX2" fmla="*/ 4398295 w 4482229"/>
              <a:gd name="connsiteY2" fmla="*/ 511393 h 618283"/>
              <a:gd name="connsiteX3" fmla="*/ 8871 w 4482229"/>
              <a:gd name="connsiteY3" fmla="*/ 459401 h 618283"/>
              <a:gd name="connsiteX4" fmla="*/ 136 w 4482229"/>
              <a:gd name="connsiteY4" fmla="*/ 4428 h 618283"/>
              <a:gd name="connsiteX0" fmla="*/ 136 w 4482649"/>
              <a:gd name="connsiteY0" fmla="*/ 4428 h 618283"/>
              <a:gd name="connsiteX1" fmla="*/ 4465385 w 4482649"/>
              <a:gd name="connsiteY1" fmla="*/ 0 h 618283"/>
              <a:gd name="connsiteX2" fmla="*/ 4398295 w 4482649"/>
              <a:gd name="connsiteY2" fmla="*/ 511393 h 618283"/>
              <a:gd name="connsiteX3" fmla="*/ 8871 w 4482649"/>
              <a:gd name="connsiteY3" fmla="*/ 459401 h 618283"/>
              <a:gd name="connsiteX4" fmla="*/ 136 w 4482649"/>
              <a:gd name="connsiteY4" fmla="*/ 4428 h 618283"/>
              <a:gd name="connsiteX0" fmla="*/ 136 w 4478982"/>
              <a:gd name="connsiteY0" fmla="*/ 4428 h 580313"/>
              <a:gd name="connsiteX1" fmla="*/ 4465385 w 4478982"/>
              <a:gd name="connsiteY1" fmla="*/ 0 h 580313"/>
              <a:gd name="connsiteX2" fmla="*/ 4354015 w 4478982"/>
              <a:gd name="connsiteY2" fmla="*/ 467113 h 580313"/>
              <a:gd name="connsiteX3" fmla="*/ 8871 w 4478982"/>
              <a:gd name="connsiteY3" fmla="*/ 459401 h 580313"/>
              <a:gd name="connsiteX4" fmla="*/ 136 w 4478982"/>
              <a:gd name="connsiteY4" fmla="*/ 4428 h 580313"/>
              <a:gd name="connsiteX0" fmla="*/ 13405 w 4492251"/>
              <a:gd name="connsiteY0" fmla="*/ 4428 h 578990"/>
              <a:gd name="connsiteX1" fmla="*/ 4478654 w 4492251"/>
              <a:gd name="connsiteY1" fmla="*/ 0 h 578990"/>
              <a:gd name="connsiteX2" fmla="*/ 4367284 w 4492251"/>
              <a:gd name="connsiteY2" fmla="*/ 467113 h 578990"/>
              <a:gd name="connsiteX3" fmla="*/ 0 w 4492251"/>
              <a:gd name="connsiteY3" fmla="*/ 450546 h 578990"/>
              <a:gd name="connsiteX4" fmla="*/ 13405 w 4492251"/>
              <a:gd name="connsiteY4" fmla="*/ 4428 h 578990"/>
              <a:gd name="connsiteX0" fmla="*/ 428 w 4479274"/>
              <a:gd name="connsiteY0" fmla="*/ 4428 h 578725"/>
              <a:gd name="connsiteX1" fmla="*/ 4465677 w 4479274"/>
              <a:gd name="connsiteY1" fmla="*/ 0 h 578725"/>
              <a:gd name="connsiteX2" fmla="*/ 4354307 w 4479274"/>
              <a:gd name="connsiteY2" fmla="*/ 467113 h 578725"/>
              <a:gd name="connsiteX3" fmla="*/ 521 w 4479274"/>
              <a:gd name="connsiteY3" fmla="*/ 448746 h 578725"/>
              <a:gd name="connsiteX4" fmla="*/ 428 w 4479274"/>
              <a:gd name="connsiteY4" fmla="*/ 4428 h 578725"/>
              <a:gd name="connsiteX0" fmla="*/ 4406 w 4483252"/>
              <a:gd name="connsiteY0" fmla="*/ 4428 h 578990"/>
              <a:gd name="connsiteX1" fmla="*/ 4469655 w 4483252"/>
              <a:gd name="connsiteY1" fmla="*/ 0 h 578990"/>
              <a:gd name="connsiteX2" fmla="*/ 4358285 w 4483252"/>
              <a:gd name="connsiteY2" fmla="*/ 467113 h 578990"/>
              <a:gd name="connsiteX3" fmla="*/ 0 w 4483252"/>
              <a:gd name="connsiteY3" fmla="*/ 450546 h 578990"/>
              <a:gd name="connsiteX4" fmla="*/ 4406 w 4483252"/>
              <a:gd name="connsiteY4" fmla="*/ 4428 h 578990"/>
              <a:gd name="connsiteX0" fmla="*/ 347 w 4484592"/>
              <a:gd name="connsiteY0" fmla="*/ 47621 h 578990"/>
              <a:gd name="connsiteX1" fmla="*/ 4470995 w 4484592"/>
              <a:gd name="connsiteY1" fmla="*/ 0 h 578990"/>
              <a:gd name="connsiteX2" fmla="*/ 4359625 w 4484592"/>
              <a:gd name="connsiteY2" fmla="*/ 467113 h 578990"/>
              <a:gd name="connsiteX3" fmla="*/ 1340 w 4484592"/>
              <a:gd name="connsiteY3" fmla="*/ 450546 h 578990"/>
              <a:gd name="connsiteX4" fmla="*/ 347 w 4484592"/>
              <a:gd name="connsiteY4" fmla="*/ 47621 h 578990"/>
              <a:gd name="connsiteX0" fmla="*/ 1707 w 4483252"/>
              <a:gd name="connsiteY0" fmla="*/ 3528 h 578990"/>
              <a:gd name="connsiteX1" fmla="*/ 4469655 w 4483252"/>
              <a:gd name="connsiteY1" fmla="*/ 0 h 578990"/>
              <a:gd name="connsiteX2" fmla="*/ 4358285 w 4483252"/>
              <a:gd name="connsiteY2" fmla="*/ 467113 h 578990"/>
              <a:gd name="connsiteX3" fmla="*/ 0 w 4483252"/>
              <a:gd name="connsiteY3" fmla="*/ 450546 h 578990"/>
              <a:gd name="connsiteX4" fmla="*/ 1707 w 4483252"/>
              <a:gd name="connsiteY4" fmla="*/ 3528 h 578990"/>
              <a:gd name="connsiteX0" fmla="*/ 427 w 4483771"/>
              <a:gd name="connsiteY0" fmla="*/ 3528 h 578990"/>
              <a:gd name="connsiteX1" fmla="*/ 4470174 w 4483771"/>
              <a:gd name="connsiteY1" fmla="*/ 0 h 578990"/>
              <a:gd name="connsiteX2" fmla="*/ 4358804 w 4483771"/>
              <a:gd name="connsiteY2" fmla="*/ 467113 h 578990"/>
              <a:gd name="connsiteX3" fmla="*/ 519 w 4483771"/>
              <a:gd name="connsiteY3" fmla="*/ 450546 h 578990"/>
              <a:gd name="connsiteX4" fmla="*/ 427 w 4483771"/>
              <a:gd name="connsiteY4" fmla="*/ 3528 h 578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83771" h="578990">
                <a:moveTo>
                  <a:pt x="427" y="3528"/>
                </a:moveTo>
                <a:lnTo>
                  <a:pt x="4470174" y="0"/>
                </a:lnTo>
                <a:cubicBezTo>
                  <a:pt x="4531437" y="87709"/>
                  <a:pt x="4366265" y="304133"/>
                  <a:pt x="4358804" y="467113"/>
                </a:cubicBezTo>
                <a:cubicBezTo>
                  <a:pt x="3662047" y="807946"/>
                  <a:pt x="2834604" y="241390"/>
                  <a:pt x="519" y="450546"/>
                </a:cubicBezTo>
                <a:cubicBezTo>
                  <a:pt x="2035" y="21400"/>
                  <a:pt x="-1089" y="432674"/>
                  <a:pt x="427" y="3528"/>
                </a:cubicBez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00">
              <a:solidFill>
                <a:schemeClr val="tx2">
                  <a:lumMod val="50000"/>
                </a:schemeClr>
              </a:solidFill>
            </a:endParaRPr>
          </a:p>
        </p:txBody>
      </p:sp>
      <p:graphicFrame>
        <p:nvGraphicFramePr>
          <p:cNvPr id="4" name="Object 3" hidden="1"/>
          <p:cNvGraphicFramePr>
            <a:graphicFrameLocks noChangeAspect="1"/>
          </p:cNvGraphicFramePr>
          <p:nvPr>
            <p:custDataLst>
              <p:tags r:id="rId1"/>
            </p:custDataLst>
          </p:nvPr>
        </p:nvGraphicFramePr>
        <p:xfrm>
          <a:off x="1" y="3"/>
          <a:ext cx="180999" cy="143985"/>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3"/>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sz="1950">
                <a:solidFill>
                  <a:schemeClr val="bg1"/>
                </a:solidFill>
              </a:defRPr>
            </a:lvl1pPr>
          </a:lstStyle>
          <a:p>
            <a:r>
              <a:rPr lang="en-US" noProof="0"/>
              <a:t>Click to edit Master title style</a:t>
            </a:r>
            <a:endParaRPr lang="en-US"/>
          </a:p>
        </p:txBody>
      </p:sp>
      <p:sp>
        <p:nvSpPr>
          <p:cNvPr id="3" name="Content Placeholder 2"/>
          <p:cNvSpPr>
            <a:spLocks noGrp="1"/>
          </p:cNvSpPr>
          <p:nvPr>
            <p:ph idx="1" hasCustomPrompt="1"/>
            <p:custDataLst>
              <p:tags r:id="rId3"/>
            </p:custDataLst>
          </p:nvPr>
        </p:nvSpPr>
        <p:spPr>
          <a:xfrm>
            <a:off x="398021" y="1955800"/>
            <a:ext cx="11793979" cy="4026560"/>
          </a:xfrm>
        </p:spPr>
        <p:txBody>
          <a:bodyPr/>
          <a:lstStyle>
            <a:lvl1pPr>
              <a:buClr>
                <a:schemeClr val="accent2"/>
              </a:buClr>
              <a:defRPr b="0"/>
            </a:lvl1pPr>
            <a:lvl2pPr marL="433377" indent="-166816">
              <a:buFont typeface="Arial" panose="020B0604020202020204" pitchFamily="34" charset="0"/>
              <a:buChar char="̶"/>
              <a:defRPr/>
            </a:lvl2pPr>
            <a:lvl3pPr marL="619110" indent="-151338">
              <a:defRPr/>
            </a:lvl3pPr>
            <a:lvl4pPr marL="804842" indent="-151338">
              <a:buFont typeface="Courier New" panose="02070309020205020404" pitchFamily="49" charset="0"/>
              <a:buChar char="o"/>
              <a:defRPr/>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8" name="Espace réservé du texte 7"/>
          <p:cNvSpPr>
            <a:spLocks noGrp="1"/>
          </p:cNvSpPr>
          <p:nvPr>
            <p:ph type="body" sz="quarter" idx="11" hasCustomPrompt="1"/>
            <p:custDataLst>
              <p:tags r:id="rId4"/>
            </p:custDataLst>
          </p:nvPr>
        </p:nvSpPr>
        <p:spPr>
          <a:xfrm>
            <a:off x="398140" y="1495448"/>
            <a:ext cx="11813714" cy="460353"/>
          </a:xfrm>
        </p:spPr>
        <p:txBody>
          <a:bodyPr/>
          <a:lstStyle>
            <a:lvl1pPr marL="0" indent="0">
              <a:buNone/>
              <a:defRPr sz="1625" b="1">
                <a:solidFill>
                  <a:schemeClr val="accent2"/>
                </a:solidFill>
              </a:defRPr>
            </a:lvl1pPr>
          </a:lstStyle>
          <a:p>
            <a:pPr lvl="0"/>
            <a:r>
              <a:rPr lang="fr-FR"/>
              <a:t>Click to </a:t>
            </a:r>
            <a:r>
              <a:rPr lang="fr-FR" err="1"/>
              <a:t>edit</a:t>
            </a:r>
            <a:r>
              <a:rPr lang="fr-FR"/>
              <a:t> Master </a:t>
            </a:r>
            <a:r>
              <a:rPr lang="fr-FR" err="1"/>
              <a:t>text</a:t>
            </a:r>
            <a:r>
              <a:rPr lang="fr-FR"/>
              <a:t> style</a:t>
            </a:r>
          </a:p>
        </p:txBody>
      </p:sp>
    </p:spTree>
    <p:extLst>
      <p:ext uri="{BB962C8B-B14F-4D97-AF65-F5344CB8AC3E}">
        <p14:creationId xmlns:p14="http://schemas.microsoft.com/office/powerpoint/2010/main" val="8573148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7_Title only">
    <p:bg>
      <p:bgRef idx="1001">
        <a:schemeClr val="bg2"/>
      </p:bgRef>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921C226-4574-C64B-B231-A093260C7491}"/>
              </a:ext>
            </a:extLst>
          </p:cNvPr>
          <p:cNvSpPr/>
          <p:nvPr userDrawn="1"/>
        </p:nvSpPr>
        <p:spPr>
          <a:xfrm>
            <a:off x="9334409" y="6558499"/>
            <a:ext cx="2664000" cy="25885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544"/>
          </a:p>
        </p:txBody>
      </p:sp>
      <p:graphicFrame>
        <p:nvGraphicFramePr>
          <p:cNvPr id="5" name="Object 4" hidden="1"/>
          <p:cNvGraphicFramePr>
            <a:graphicFrameLocks noChangeAspect="1"/>
          </p:cNvGraphicFramePr>
          <p:nvPr>
            <p:custDataLst>
              <p:tags r:id="rId1"/>
            </p:custDataLst>
          </p:nvPr>
        </p:nvGraphicFramePr>
        <p:xfrm>
          <a:off x="1590" y="1593"/>
          <a:ext cx="158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90" y="1593"/>
                        <a:ext cx="158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8" name="Title 1">
            <a:extLst>
              <a:ext uri="{FF2B5EF4-FFF2-40B4-BE49-F238E27FC236}">
                <a16:creationId xmlns:a16="http://schemas.microsoft.com/office/drawing/2014/main" id="{871ADB5E-3A70-2847-A84F-6B072761E375}"/>
              </a:ext>
            </a:extLst>
          </p:cNvPr>
          <p:cNvSpPr>
            <a:spLocks noGrp="1"/>
          </p:cNvSpPr>
          <p:nvPr>
            <p:ph type="title"/>
          </p:nvPr>
        </p:nvSpPr>
        <p:spPr>
          <a:xfrm>
            <a:off x="227349" y="0"/>
            <a:ext cx="11125236" cy="1104900"/>
          </a:xfrm>
        </p:spPr>
        <p:txBody>
          <a:bodyPr/>
          <a:lstStyle/>
          <a:p>
            <a:r>
              <a:rPr lang="en-US"/>
              <a:t>Click to edit Master title style</a:t>
            </a:r>
            <a:endParaRPr lang="pl-PL"/>
          </a:p>
        </p:txBody>
      </p:sp>
    </p:spTree>
    <p:extLst>
      <p:ext uri="{BB962C8B-B14F-4D97-AF65-F5344CB8AC3E}">
        <p14:creationId xmlns:p14="http://schemas.microsoft.com/office/powerpoint/2010/main" val="4178065952"/>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5_Blank-White">
    <p:spTree>
      <p:nvGrpSpPr>
        <p:cNvPr id="1" name=""/>
        <p:cNvGrpSpPr/>
        <p:nvPr/>
      </p:nvGrpSpPr>
      <p:grpSpPr>
        <a:xfrm>
          <a:off x="0" y="0"/>
          <a:ext cx="0" cy="0"/>
          <a:chOff x="0" y="0"/>
          <a:chExt cx="0" cy="0"/>
        </a:xfrm>
      </p:grpSpPr>
      <p:sp>
        <p:nvSpPr>
          <p:cNvPr id="2" name="Retângulo 43">
            <a:extLst>
              <a:ext uri="{FF2B5EF4-FFF2-40B4-BE49-F238E27FC236}">
                <a16:creationId xmlns:a16="http://schemas.microsoft.com/office/drawing/2014/main" id="{3F9C8CA2-0215-48A9-ADBD-EE5665AAD79F}"/>
              </a:ext>
            </a:extLst>
          </p:cNvPr>
          <p:cNvSpPr/>
          <p:nvPr userDrawn="1"/>
        </p:nvSpPr>
        <p:spPr>
          <a:xfrm>
            <a:off x="11696359" y="6556375"/>
            <a:ext cx="330540" cy="192360"/>
          </a:xfrm>
          <a:prstGeom prst="rect">
            <a:avLst/>
          </a:prstGeom>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eaLnBrk="1" hangingPunct="1">
              <a:defRPr/>
            </a:pPr>
            <a:fld id="{23787BF7-72D8-4B2A-A8C9-59FB7884DD7E}" type="slidenum">
              <a:rPr lang="en-US" altLang="en-US" sz="650" smtClean="0">
                <a:solidFill>
                  <a:srgbClr val="7F7F7F"/>
                </a:solidFill>
                <a:latin typeface="Verdana" panose="020B0604030504040204" pitchFamily="34" charset="0"/>
              </a:rPr>
              <a:pPr algn="r" eaLnBrk="1" hangingPunct="1">
                <a:defRPr/>
              </a:pPr>
              <a:t>‹#›</a:t>
            </a:fld>
            <a:endParaRPr lang="en-US" altLang="en-US" sz="650">
              <a:solidFill>
                <a:srgbClr val="7F7F7F"/>
              </a:solidFill>
              <a:latin typeface="Verdana" panose="020B0604030504040204" pitchFamily="34" charset="0"/>
            </a:endParaRPr>
          </a:p>
        </p:txBody>
      </p:sp>
      <p:cxnSp>
        <p:nvCxnSpPr>
          <p:cNvPr id="3" name="Conector reto 49">
            <a:extLst>
              <a:ext uri="{FF2B5EF4-FFF2-40B4-BE49-F238E27FC236}">
                <a16:creationId xmlns:a16="http://schemas.microsoft.com/office/drawing/2014/main" id="{21268AC5-7FCE-4349-88FF-D98475675FDE}"/>
              </a:ext>
            </a:extLst>
          </p:cNvPr>
          <p:cNvCxnSpPr>
            <a:cxnSpLocks/>
          </p:cNvCxnSpPr>
          <p:nvPr userDrawn="1"/>
        </p:nvCxnSpPr>
        <p:spPr>
          <a:xfrm flipV="1">
            <a:off x="3282950" y="6588127"/>
            <a:ext cx="0" cy="155575"/>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 name="Retângulo 43">
            <a:extLst>
              <a:ext uri="{FF2B5EF4-FFF2-40B4-BE49-F238E27FC236}">
                <a16:creationId xmlns:a16="http://schemas.microsoft.com/office/drawing/2014/main" id="{C30777F5-74E5-4493-9EFE-D33E53D8D226}"/>
              </a:ext>
            </a:extLst>
          </p:cNvPr>
          <p:cNvSpPr>
            <a:spLocks noChangeArrowheads="1"/>
          </p:cNvSpPr>
          <p:nvPr userDrawn="1"/>
        </p:nvSpPr>
        <p:spPr bwMode="auto">
          <a:xfrm>
            <a:off x="3411539" y="6556377"/>
            <a:ext cx="2224087" cy="219075"/>
          </a:xfrm>
          <a:prstGeom prst="rect">
            <a:avLst/>
          </a:prstGeom>
          <a:noFill/>
          <a:ln>
            <a:noFill/>
          </a:ln>
        </p:spPr>
        <p:txBody>
          <a:bodyPr wrap="none" lIns="0" tIns="0" rIns="0" bIns="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defRPr/>
            </a:pPr>
            <a:r>
              <a:rPr lang="en-US" altLang="en-US" sz="650">
                <a:solidFill>
                  <a:srgbClr val="767676"/>
                </a:solidFill>
                <a:latin typeface="Verdana" panose="020B0604030504040204" pitchFamily="34" charset="0"/>
              </a:rPr>
              <a:t>© 2017 Capgemini. All rights reserved.</a:t>
            </a:r>
          </a:p>
        </p:txBody>
      </p:sp>
    </p:spTree>
    <p:extLst>
      <p:ext uri="{BB962C8B-B14F-4D97-AF65-F5344CB8AC3E}">
        <p14:creationId xmlns:p14="http://schemas.microsoft.com/office/powerpoint/2010/main" val="383589954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Slide 4">
    <p:spTree>
      <p:nvGrpSpPr>
        <p:cNvPr id="1" name=""/>
        <p:cNvGrpSpPr/>
        <p:nvPr/>
      </p:nvGrpSpPr>
      <p:grpSpPr>
        <a:xfrm>
          <a:off x="0" y="0"/>
          <a:ext cx="0" cy="0"/>
          <a:chOff x="0" y="0"/>
          <a:chExt cx="0" cy="0"/>
        </a:xfrm>
      </p:grpSpPr>
      <p:sp>
        <p:nvSpPr>
          <p:cNvPr id="18" name="Freeform 17">
            <a:extLst>
              <a:ext uri="{FF2B5EF4-FFF2-40B4-BE49-F238E27FC236}">
                <a16:creationId xmlns:a16="http://schemas.microsoft.com/office/drawing/2014/main" id="{87E16564-F190-40DB-937F-ED0931316412}"/>
              </a:ext>
            </a:extLst>
          </p:cNvPr>
          <p:cNvSpPr>
            <a:spLocks/>
          </p:cNvSpPr>
          <p:nvPr userDrawn="1"/>
        </p:nvSpPr>
        <p:spPr bwMode="auto">
          <a:xfrm rot="4999060">
            <a:off x="1476691" y="1743516"/>
            <a:ext cx="3917953" cy="7175951"/>
          </a:xfrm>
          <a:custGeom>
            <a:avLst/>
            <a:gdLst>
              <a:gd name="connsiteX0" fmla="*/ 15089 w 4013655"/>
              <a:gd name="connsiteY0" fmla="*/ 5624225 h 7351235"/>
              <a:gd name="connsiteX1" fmla="*/ 38008 w 4013655"/>
              <a:gd name="connsiteY1" fmla="*/ 5436400 h 7351235"/>
              <a:gd name="connsiteX2" fmla="*/ 2835093 w 4013655"/>
              <a:gd name="connsiteY2" fmla="*/ 15890 h 7351235"/>
              <a:gd name="connsiteX3" fmla="*/ 3947358 w 4013655"/>
              <a:gd name="connsiteY3" fmla="*/ 10573 h 7351235"/>
              <a:gd name="connsiteX4" fmla="*/ 4013655 w 4013655"/>
              <a:gd name="connsiteY4" fmla="*/ 14578 h 7351235"/>
              <a:gd name="connsiteX5" fmla="*/ 3154090 w 4013655"/>
              <a:gd name="connsiteY5" fmla="*/ 7351235 h 7351235"/>
              <a:gd name="connsiteX6" fmla="*/ 194721 w 4013655"/>
              <a:gd name="connsiteY6" fmla="*/ 7004514 h 7351235"/>
              <a:gd name="connsiteX7" fmla="*/ 174241 w 4013655"/>
              <a:gd name="connsiteY7" fmla="*/ 6954071 h 7351235"/>
              <a:gd name="connsiteX8" fmla="*/ 15089 w 4013655"/>
              <a:gd name="connsiteY8" fmla="*/ 5624225 h 7351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13655" h="7351235">
                <a:moveTo>
                  <a:pt x="15089" y="5624225"/>
                </a:moveTo>
                <a:cubicBezTo>
                  <a:pt x="21048" y="5561500"/>
                  <a:pt x="28720" y="5498888"/>
                  <a:pt x="38008" y="5436400"/>
                </a:cubicBezTo>
                <a:cubicBezTo>
                  <a:pt x="347620" y="3353451"/>
                  <a:pt x="2453922" y="1407703"/>
                  <a:pt x="2835093" y="15890"/>
                </a:cubicBezTo>
                <a:cubicBezTo>
                  <a:pt x="3207327" y="-3018"/>
                  <a:pt x="3579560" y="-5381"/>
                  <a:pt x="3947358" y="10573"/>
                </a:cubicBezTo>
                <a:lnTo>
                  <a:pt x="4013655" y="14578"/>
                </a:lnTo>
                <a:lnTo>
                  <a:pt x="3154090" y="7351235"/>
                </a:lnTo>
                <a:lnTo>
                  <a:pt x="194721" y="7004514"/>
                </a:lnTo>
                <a:lnTo>
                  <a:pt x="174241" y="6954071"/>
                </a:lnTo>
                <a:cubicBezTo>
                  <a:pt x="15554" y="6507863"/>
                  <a:pt x="-26625" y="6063294"/>
                  <a:pt x="15089" y="5624225"/>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a:p>
        </p:txBody>
      </p:sp>
      <p:graphicFrame>
        <p:nvGraphicFramePr>
          <p:cNvPr id="14" name="Object 13"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4" name="Object 1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a:extLst>
              <a:ext uri="{FF2B5EF4-FFF2-40B4-BE49-F238E27FC236}">
                <a16:creationId xmlns:a16="http://schemas.microsoft.com/office/drawing/2014/main" id="{41A32763-DC9E-4120-B8D8-B06442D8246E}"/>
              </a:ext>
            </a:extLst>
          </p:cNvPr>
          <p:cNvSpPr/>
          <p:nvPr userDrawn="1"/>
        </p:nvSpPr>
        <p:spPr>
          <a:xfrm flipH="1">
            <a:off x="0" y="1"/>
            <a:ext cx="12192000" cy="1484312"/>
          </a:xfrm>
          <a:prstGeom prst="rect">
            <a:avLst/>
          </a:prstGeom>
          <a:gradFill flip="none" rotWithShape="1">
            <a:gsLst>
              <a:gs pos="25000">
                <a:schemeClr val="bg1"/>
              </a:gs>
              <a:gs pos="50000">
                <a:schemeClr val="bg1">
                  <a:alpha val="50000"/>
                </a:schemeClr>
              </a:gs>
              <a:gs pos="75000">
                <a:schemeClr val="bg1">
                  <a:alpha val="0"/>
                </a:schemeClr>
              </a:gs>
            </a:gsLst>
            <a:lin ang="6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9" name="Group 14">
            <a:extLst>
              <a:ext uri="{FF2B5EF4-FFF2-40B4-BE49-F238E27FC236}">
                <a16:creationId xmlns:a16="http://schemas.microsoft.com/office/drawing/2014/main" id="{D881E817-BEC3-4F80-9247-B50881848A83}"/>
              </a:ext>
            </a:extLst>
          </p:cNvPr>
          <p:cNvGrpSpPr>
            <a:grpSpLocks noChangeAspect="1"/>
          </p:cNvGrpSpPr>
          <p:nvPr userDrawn="1"/>
        </p:nvGrpSpPr>
        <p:grpSpPr>
          <a:xfrm>
            <a:off x="419402" y="545829"/>
            <a:ext cx="2287635" cy="510020"/>
            <a:chOff x="728662" y="4465638"/>
            <a:chExt cx="5354638" cy="1193798"/>
          </a:xfrm>
        </p:grpSpPr>
        <p:sp>
          <p:nvSpPr>
            <p:cNvPr id="30" name="Freeform 11">
              <a:extLst>
                <a:ext uri="{FF2B5EF4-FFF2-40B4-BE49-F238E27FC236}">
                  <a16:creationId xmlns:a16="http://schemas.microsoft.com/office/drawing/2014/main" id="{C48C16FA-9D6B-46C5-B45C-F07857ED37FC}"/>
                </a:ext>
              </a:extLst>
            </p:cNvPr>
            <p:cNvSpPr>
              <a:spLocks/>
            </p:cNvSpPr>
            <p:nvPr userDrawn="1"/>
          </p:nvSpPr>
          <p:spPr bwMode="auto">
            <a:xfrm>
              <a:off x="5464172" y="4830763"/>
              <a:ext cx="619125" cy="503237"/>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1" name="Freeform 12">
              <a:extLst>
                <a:ext uri="{FF2B5EF4-FFF2-40B4-BE49-F238E27FC236}">
                  <a16:creationId xmlns:a16="http://schemas.microsoft.com/office/drawing/2014/main" id="{4BE6A57C-1D76-4655-9AA4-DE831B3BA16E}"/>
                </a:ext>
              </a:extLst>
            </p:cNvPr>
            <p:cNvSpPr>
              <a:spLocks noEditPoints="1"/>
            </p:cNvSpPr>
            <p:nvPr userDrawn="1"/>
          </p:nvSpPr>
          <p:spPr bwMode="auto">
            <a:xfrm>
              <a:off x="728662" y="4483099"/>
              <a:ext cx="4352922" cy="1176337"/>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2" name="Freeform 13">
              <a:extLst>
                <a:ext uri="{FF2B5EF4-FFF2-40B4-BE49-F238E27FC236}">
                  <a16:creationId xmlns:a16="http://schemas.microsoft.com/office/drawing/2014/main" id="{652C0DA9-DB35-4FFB-9E1F-6886401DB58D}"/>
                </a:ext>
              </a:extLst>
            </p:cNvPr>
            <p:cNvSpPr>
              <a:spLocks/>
            </p:cNvSpPr>
            <p:nvPr userDrawn="1"/>
          </p:nvSpPr>
          <p:spPr bwMode="auto">
            <a:xfrm>
              <a:off x="4013197" y="4541835"/>
              <a:ext cx="120649"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3" name="Freeform 14">
              <a:extLst>
                <a:ext uri="{FF2B5EF4-FFF2-40B4-BE49-F238E27FC236}">
                  <a16:creationId xmlns:a16="http://schemas.microsoft.com/office/drawing/2014/main" id="{A973CDB2-1B99-4B40-8D22-67C7C8D4DFAC}"/>
                </a:ext>
              </a:extLst>
            </p:cNvPr>
            <p:cNvSpPr>
              <a:spLocks/>
            </p:cNvSpPr>
            <p:nvPr userDrawn="1"/>
          </p:nvSpPr>
          <p:spPr bwMode="auto">
            <a:xfrm>
              <a:off x="4870449" y="4564059"/>
              <a:ext cx="112714"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4" name="Freeform 15">
              <a:extLst>
                <a:ext uri="{FF2B5EF4-FFF2-40B4-BE49-F238E27FC236}">
                  <a16:creationId xmlns:a16="http://schemas.microsoft.com/office/drawing/2014/main" id="{094862EA-CC29-4FAA-81D0-0F51C84BD02E}"/>
                </a:ext>
              </a:extLst>
            </p:cNvPr>
            <p:cNvSpPr>
              <a:spLocks/>
            </p:cNvSpPr>
            <p:nvPr userDrawn="1"/>
          </p:nvSpPr>
          <p:spPr bwMode="auto">
            <a:xfrm>
              <a:off x="5143500" y="4465638"/>
              <a:ext cx="939800" cy="796926"/>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19" name="Freeform 1279">
            <a:extLst>
              <a:ext uri="{FF2B5EF4-FFF2-40B4-BE49-F238E27FC236}">
                <a16:creationId xmlns:a16="http://schemas.microsoft.com/office/drawing/2014/main" id="{88480320-37F5-474F-A8AB-9D967E53E1EB}"/>
              </a:ext>
            </a:extLst>
          </p:cNvPr>
          <p:cNvSpPr>
            <a:spLocks/>
          </p:cNvSpPr>
          <p:nvPr userDrawn="1"/>
        </p:nvSpPr>
        <p:spPr bwMode="auto">
          <a:xfrm>
            <a:off x="0" y="2246243"/>
            <a:ext cx="12192000" cy="4611757"/>
          </a:xfrm>
          <a:custGeom>
            <a:avLst/>
            <a:gdLst>
              <a:gd name="connsiteX0" fmla="*/ 1172841 w 12192000"/>
              <a:gd name="connsiteY0" fmla="*/ 179 h 5927418"/>
              <a:gd name="connsiteX1" fmla="*/ 3395165 w 12192000"/>
              <a:gd name="connsiteY1" fmla="*/ 273103 h 5927418"/>
              <a:gd name="connsiteX2" fmla="*/ 10320461 w 12192000"/>
              <a:gd name="connsiteY2" fmla="*/ 2749117 h 5927418"/>
              <a:gd name="connsiteX3" fmla="*/ 12192000 w 12192000"/>
              <a:gd name="connsiteY3" fmla="*/ 1134456 h 5927418"/>
              <a:gd name="connsiteX4" fmla="*/ 12192000 w 12192000"/>
              <a:gd name="connsiteY4" fmla="*/ 5927418 h 5927418"/>
              <a:gd name="connsiteX5" fmla="*/ 0 w 12192000"/>
              <a:gd name="connsiteY5" fmla="*/ 5927418 h 5927418"/>
              <a:gd name="connsiteX6" fmla="*/ 0 w 12192000"/>
              <a:gd name="connsiteY6" fmla="*/ 66018 h 5927418"/>
              <a:gd name="connsiteX7" fmla="*/ 1172841 w 12192000"/>
              <a:gd name="connsiteY7" fmla="*/ 179 h 5927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927418">
                <a:moveTo>
                  <a:pt x="1172841" y="179"/>
                </a:moveTo>
                <a:cubicBezTo>
                  <a:pt x="1859918" y="4399"/>
                  <a:pt x="2604110" y="83650"/>
                  <a:pt x="3395165" y="273103"/>
                </a:cubicBezTo>
                <a:cubicBezTo>
                  <a:pt x="5584626" y="4372781"/>
                  <a:pt x="8895811" y="6419619"/>
                  <a:pt x="10320461" y="2749117"/>
                </a:cubicBezTo>
                <a:cubicBezTo>
                  <a:pt x="10851330" y="1380556"/>
                  <a:pt x="11538161" y="1032414"/>
                  <a:pt x="12192000" y="1134456"/>
                </a:cubicBezTo>
                <a:lnTo>
                  <a:pt x="12192000" y="5927418"/>
                </a:lnTo>
                <a:cubicBezTo>
                  <a:pt x="12192000" y="5927418"/>
                  <a:pt x="12192000" y="5927418"/>
                  <a:pt x="0" y="5927418"/>
                </a:cubicBezTo>
                <a:cubicBezTo>
                  <a:pt x="0" y="5927418"/>
                  <a:pt x="0" y="5927418"/>
                  <a:pt x="0" y="66018"/>
                </a:cubicBezTo>
                <a:cubicBezTo>
                  <a:pt x="368909" y="22125"/>
                  <a:pt x="760594" y="-2354"/>
                  <a:pt x="1172841" y="179"/>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7" name="Title 1"/>
          <p:cNvSpPr>
            <a:spLocks noGrp="1"/>
          </p:cNvSpPr>
          <p:nvPr>
            <p:ph type="ctrTitle" hasCustomPrompt="1"/>
          </p:nvPr>
        </p:nvSpPr>
        <p:spPr>
          <a:xfrm>
            <a:off x="407988" y="3933000"/>
            <a:ext cx="360001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ct val="100000"/>
              </a:lnSpc>
              <a:spcBef>
                <a:spcPts val="0"/>
              </a:spcBef>
              <a:defRPr lang="en-US" sz="2600" b="0" dirty="0">
                <a:solidFill>
                  <a:schemeClr val="bg1"/>
                </a:solidFill>
              </a:defRPr>
            </a:lvl1pPr>
          </a:lstStyle>
          <a:p>
            <a:pPr marL="0" lvl="0"/>
            <a:r>
              <a:rPr lang="en-US"/>
              <a:t>Click to insert title</a:t>
            </a:r>
          </a:p>
        </p:txBody>
      </p:sp>
      <p:sp>
        <p:nvSpPr>
          <p:cNvPr id="8" name="Subtitle 2"/>
          <p:cNvSpPr>
            <a:spLocks noGrp="1"/>
          </p:cNvSpPr>
          <p:nvPr>
            <p:ph type="subTitle" idx="1" hasCustomPrompt="1"/>
          </p:nvPr>
        </p:nvSpPr>
        <p:spPr>
          <a:xfrm>
            <a:off x="407988" y="5661000"/>
            <a:ext cx="3600012" cy="4924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grpSp>
        <p:nvGrpSpPr>
          <p:cNvPr id="16" name="Group 15"/>
          <p:cNvGrpSpPr/>
          <p:nvPr userDrawn="1"/>
        </p:nvGrpSpPr>
        <p:grpSpPr>
          <a:xfrm>
            <a:off x="4389516" y="2781000"/>
            <a:ext cx="7560000" cy="2710132"/>
            <a:chOff x="3000000" y="1989000"/>
            <a:chExt cx="7920000" cy="2839186"/>
          </a:xfrm>
        </p:grpSpPr>
        <p:sp>
          <p:nvSpPr>
            <p:cNvPr id="20" name="Freeform 126"/>
            <p:cNvSpPr>
              <a:spLocks/>
            </p:cNvSpPr>
            <p:nvPr/>
          </p:nvSpPr>
          <p:spPr bwMode="auto">
            <a:xfrm>
              <a:off x="5088000" y="2061000"/>
              <a:ext cx="2664000" cy="1438424"/>
            </a:xfrm>
            <a:custGeom>
              <a:avLst/>
              <a:gdLst>
                <a:gd name="T0" fmla="*/ 381 w 574"/>
                <a:gd name="T1" fmla="*/ 0 h 309"/>
                <a:gd name="T2" fmla="*/ 271 w 574"/>
                <a:gd name="T3" fmla="*/ 69 h 309"/>
                <a:gd name="T4" fmla="*/ 220 w 574"/>
                <a:gd name="T5" fmla="*/ 47 h 309"/>
                <a:gd name="T6" fmla="*/ 150 w 574"/>
                <a:gd name="T7" fmla="*/ 115 h 309"/>
                <a:gd name="T8" fmla="*/ 102 w 574"/>
                <a:gd name="T9" fmla="*/ 104 h 309"/>
                <a:gd name="T10" fmla="*/ 0 w 574"/>
                <a:gd name="T11" fmla="*/ 206 h 309"/>
                <a:gd name="T12" fmla="*/ 102 w 574"/>
                <a:gd name="T13" fmla="*/ 309 h 309"/>
                <a:gd name="T14" fmla="*/ 483 w 574"/>
                <a:gd name="T15" fmla="*/ 309 h 309"/>
                <a:gd name="T16" fmla="*/ 574 w 574"/>
                <a:gd name="T17" fmla="*/ 218 h 309"/>
                <a:gd name="T18" fmla="*/ 503 w 574"/>
                <a:gd name="T19" fmla="*/ 129 h 309"/>
                <a:gd name="T20" fmla="*/ 503 w 574"/>
                <a:gd name="T21" fmla="*/ 122 h 309"/>
                <a:gd name="T22" fmla="*/ 381 w 574"/>
                <a:gd name="T23" fmla="*/ 0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4" h="309">
                  <a:moveTo>
                    <a:pt x="381" y="0"/>
                  </a:moveTo>
                  <a:cubicBezTo>
                    <a:pt x="333" y="0"/>
                    <a:pt x="291" y="28"/>
                    <a:pt x="271" y="69"/>
                  </a:cubicBezTo>
                  <a:cubicBezTo>
                    <a:pt x="258" y="56"/>
                    <a:pt x="240" y="47"/>
                    <a:pt x="220" y="47"/>
                  </a:cubicBezTo>
                  <a:cubicBezTo>
                    <a:pt x="182" y="47"/>
                    <a:pt x="151" y="77"/>
                    <a:pt x="150" y="115"/>
                  </a:cubicBezTo>
                  <a:cubicBezTo>
                    <a:pt x="135" y="108"/>
                    <a:pt x="119" y="104"/>
                    <a:pt x="102" y="104"/>
                  </a:cubicBezTo>
                  <a:cubicBezTo>
                    <a:pt x="46" y="104"/>
                    <a:pt x="0" y="149"/>
                    <a:pt x="0" y="206"/>
                  </a:cubicBezTo>
                  <a:cubicBezTo>
                    <a:pt x="0" y="263"/>
                    <a:pt x="46" y="309"/>
                    <a:pt x="102" y="309"/>
                  </a:cubicBezTo>
                  <a:cubicBezTo>
                    <a:pt x="483" y="309"/>
                    <a:pt x="483" y="309"/>
                    <a:pt x="483" y="309"/>
                  </a:cubicBezTo>
                  <a:cubicBezTo>
                    <a:pt x="533" y="309"/>
                    <a:pt x="574" y="268"/>
                    <a:pt x="574" y="218"/>
                  </a:cubicBezTo>
                  <a:cubicBezTo>
                    <a:pt x="574" y="174"/>
                    <a:pt x="543" y="138"/>
                    <a:pt x="503" y="129"/>
                  </a:cubicBezTo>
                  <a:cubicBezTo>
                    <a:pt x="503" y="127"/>
                    <a:pt x="503" y="124"/>
                    <a:pt x="503" y="122"/>
                  </a:cubicBezTo>
                  <a:cubicBezTo>
                    <a:pt x="503" y="54"/>
                    <a:pt x="449" y="0"/>
                    <a:pt x="381" y="0"/>
                  </a:cubicBezTo>
                </a:path>
              </a:pathLst>
            </a:custGeom>
            <a:solidFill>
              <a:schemeClr val="accent1">
                <a:lumMod val="20000"/>
                <a:lumOff val="80000"/>
              </a:schemeClr>
            </a:solidFill>
            <a:ln w="19050">
              <a:solidFill>
                <a:schemeClr val="bg1"/>
              </a:solidFill>
            </a:ln>
          </p:spPr>
          <p:txBody>
            <a:bodyPr vert="horz" wrap="square" lIns="91440" tIns="45720" rIns="91440" bIns="45720" numCol="1" anchor="t" anchorCtr="0" compatLnSpc="1">
              <a:prstTxWarp prst="textNoShape">
                <a:avLst/>
              </a:prstTxWarp>
            </a:bodyPr>
            <a:lstStyle/>
            <a:p>
              <a:endParaRPr lang="en-US"/>
            </a:p>
          </p:txBody>
        </p:sp>
        <p:sp>
          <p:nvSpPr>
            <p:cNvPr id="21" name="Freeform 127"/>
            <p:cNvSpPr>
              <a:spLocks/>
            </p:cNvSpPr>
            <p:nvPr/>
          </p:nvSpPr>
          <p:spPr bwMode="auto">
            <a:xfrm>
              <a:off x="3000000" y="2853000"/>
              <a:ext cx="3528000" cy="1923251"/>
            </a:xfrm>
            <a:custGeom>
              <a:avLst/>
              <a:gdLst>
                <a:gd name="T0" fmla="*/ 306 w 639"/>
                <a:gd name="T1" fmla="*/ 0 h 347"/>
                <a:gd name="T2" fmla="*/ 185 w 639"/>
                <a:gd name="T3" fmla="*/ 121 h 347"/>
                <a:gd name="T4" fmla="*/ 185 w 639"/>
                <a:gd name="T5" fmla="*/ 122 h 347"/>
                <a:gd name="T6" fmla="*/ 155 w 639"/>
                <a:gd name="T7" fmla="*/ 114 h 347"/>
                <a:gd name="T8" fmla="*/ 96 w 639"/>
                <a:gd name="T9" fmla="*/ 173 h 347"/>
                <a:gd name="T10" fmla="*/ 97 w 639"/>
                <a:gd name="T11" fmla="*/ 180 h 347"/>
                <a:gd name="T12" fmla="*/ 84 w 639"/>
                <a:gd name="T13" fmla="*/ 179 h 347"/>
                <a:gd name="T14" fmla="*/ 0 w 639"/>
                <a:gd name="T15" fmla="*/ 263 h 347"/>
                <a:gd name="T16" fmla="*/ 84 w 639"/>
                <a:gd name="T17" fmla="*/ 347 h 347"/>
                <a:gd name="T18" fmla="*/ 551 w 639"/>
                <a:gd name="T19" fmla="*/ 347 h 347"/>
                <a:gd name="T20" fmla="*/ 551 w 639"/>
                <a:gd name="T21" fmla="*/ 347 h 347"/>
                <a:gd name="T22" fmla="*/ 639 w 639"/>
                <a:gd name="T23" fmla="*/ 251 h 347"/>
                <a:gd name="T24" fmla="*/ 543 w 639"/>
                <a:gd name="T25" fmla="*/ 154 h 347"/>
                <a:gd name="T26" fmla="*/ 512 w 639"/>
                <a:gd name="T27" fmla="*/ 160 h 347"/>
                <a:gd name="T28" fmla="*/ 513 w 639"/>
                <a:gd name="T29" fmla="*/ 149 h 347"/>
                <a:gd name="T30" fmla="*/ 452 w 639"/>
                <a:gd name="T31" fmla="*/ 88 h 347"/>
                <a:gd name="T32" fmla="*/ 424 w 639"/>
                <a:gd name="T33" fmla="*/ 95 h 347"/>
                <a:gd name="T34" fmla="*/ 306 w 639"/>
                <a:gd name="T35" fmla="*/ 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9" h="347">
                  <a:moveTo>
                    <a:pt x="306" y="0"/>
                  </a:moveTo>
                  <a:cubicBezTo>
                    <a:pt x="239" y="0"/>
                    <a:pt x="185" y="54"/>
                    <a:pt x="185" y="121"/>
                  </a:cubicBezTo>
                  <a:cubicBezTo>
                    <a:pt x="185" y="122"/>
                    <a:pt x="185" y="122"/>
                    <a:pt x="185" y="122"/>
                  </a:cubicBezTo>
                  <a:cubicBezTo>
                    <a:pt x="176" y="117"/>
                    <a:pt x="166" y="114"/>
                    <a:pt x="155" y="114"/>
                  </a:cubicBezTo>
                  <a:cubicBezTo>
                    <a:pt x="123" y="114"/>
                    <a:pt x="96" y="140"/>
                    <a:pt x="96" y="173"/>
                  </a:cubicBezTo>
                  <a:cubicBezTo>
                    <a:pt x="96" y="175"/>
                    <a:pt x="96" y="178"/>
                    <a:pt x="97" y="180"/>
                  </a:cubicBezTo>
                  <a:cubicBezTo>
                    <a:pt x="92" y="180"/>
                    <a:pt x="88" y="179"/>
                    <a:pt x="84" y="179"/>
                  </a:cubicBezTo>
                  <a:cubicBezTo>
                    <a:pt x="38" y="179"/>
                    <a:pt x="0" y="217"/>
                    <a:pt x="0" y="263"/>
                  </a:cubicBezTo>
                  <a:cubicBezTo>
                    <a:pt x="0" y="309"/>
                    <a:pt x="38" y="347"/>
                    <a:pt x="84" y="347"/>
                  </a:cubicBezTo>
                  <a:cubicBezTo>
                    <a:pt x="551" y="347"/>
                    <a:pt x="551" y="347"/>
                    <a:pt x="551" y="347"/>
                  </a:cubicBezTo>
                  <a:cubicBezTo>
                    <a:pt x="551" y="347"/>
                    <a:pt x="551" y="347"/>
                    <a:pt x="551" y="347"/>
                  </a:cubicBezTo>
                  <a:cubicBezTo>
                    <a:pt x="601" y="342"/>
                    <a:pt x="639" y="301"/>
                    <a:pt x="639" y="251"/>
                  </a:cubicBezTo>
                  <a:cubicBezTo>
                    <a:pt x="639" y="198"/>
                    <a:pt x="596" y="154"/>
                    <a:pt x="543" y="154"/>
                  </a:cubicBezTo>
                  <a:cubicBezTo>
                    <a:pt x="532" y="154"/>
                    <a:pt x="522" y="156"/>
                    <a:pt x="512" y="160"/>
                  </a:cubicBezTo>
                  <a:cubicBezTo>
                    <a:pt x="513" y="156"/>
                    <a:pt x="513" y="152"/>
                    <a:pt x="513" y="149"/>
                  </a:cubicBezTo>
                  <a:cubicBezTo>
                    <a:pt x="513" y="115"/>
                    <a:pt x="486" y="88"/>
                    <a:pt x="452" y="88"/>
                  </a:cubicBezTo>
                  <a:cubicBezTo>
                    <a:pt x="442" y="88"/>
                    <a:pt x="433" y="90"/>
                    <a:pt x="424" y="95"/>
                  </a:cubicBezTo>
                  <a:cubicBezTo>
                    <a:pt x="412" y="40"/>
                    <a:pt x="364" y="0"/>
                    <a:pt x="306" y="0"/>
                  </a:cubicBezTo>
                </a:path>
              </a:pathLst>
            </a:custGeom>
            <a:solidFill>
              <a:schemeClr val="accent1">
                <a:lumMod val="60000"/>
                <a:lumOff val="40000"/>
              </a:schemeClr>
            </a:solidFill>
            <a:ln w="19050">
              <a:solidFill>
                <a:schemeClr val="bg1"/>
              </a:solidFill>
            </a:ln>
          </p:spPr>
          <p:txBody>
            <a:bodyPr vert="horz" wrap="square" lIns="91440" tIns="45720" rIns="91440" bIns="45720" numCol="1" anchor="t" anchorCtr="0" compatLnSpc="1">
              <a:prstTxWarp prst="textNoShape">
                <a:avLst/>
              </a:prstTxWarp>
            </a:bodyPr>
            <a:lstStyle/>
            <a:p>
              <a:endParaRPr lang="en-US"/>
            </a:p>
          </p:txBody>
        </p:sp>
        <p:sp>
          <p:nvSpPr>
            <p:cNvPr id="22" name="Freeform 128"/>
            <p:cNvSpPr>
              <a:spLocks/>
            </p:cNvSpPr>
            <p:nvPr/>
          </p:nvSpPr>
          <p:spPr bwMode="auto">
            <a:xfrm>
              <a:off x="4080000" y="1989000"/>
              <a:ext cx="1181100" cy="642938"/>
            </a:xfrm>
            <a:custGeom>
              <a:avLst/>
              <a:gdLst>
                <a:gd name="T0" fmla="*/ 263 w 550"/>
                <a:gd name="T1" fmla="*/ 0 h 299"/>
                <a:gd name="T2" fmla="*/ 159 w 550"/>
                <a:gd name="T3" fmla="*/ 105 h 299"/>
                <a:gd name="T4" fmla="*/ 159 w 550"/>
                <a:gd name="T5" fmla="*/ 105 h 299"/>
                <a:gd name="T6" fmla="*/ 133 w 550"/>
                <a:gd name="T7" fmla="*/ 98 h 299"/>
                <a:gd name="T8" fmla="*/ 83 w 550"/>
                <a:gd name="T9" fmla="*/ 149 h 299"/>
                <a:gd name="T10" fmla="*/ 83 w 550"/>
                <a:gd name="T11" fmla="*/ 155 h 299"/>
                <a:gd name="T12" fmla="*/ 72 w 550"/>
                <a:gd name="T13" fmla="*/ 154 h 299"/>
                <a:gd name="T14" fmla="*/ 0 w 550"/>
                <a:gd name="T15" fmla="*/ 227 h 299"/>
                <a:gd name="T16" fmla="*/ 72 w 550"/>
                <a:gd name="T17" fmla="*/ 299 h 299"/>
                <a:gd name="T18" fmla="*/ 475 w 550"/>
                <a:gd name="T19" fmla="*/ 299 h 299"/>
                <a:gd name="T20" fmla="*/ 475 w 550"/>
                <a:gd name="T21" fmla="*/ 299 h 299"/>
                <a:gd name="T22" fmla="*/ 550 w 550"/>
                <a:gd name="T23" fmla="*/ 216 h 299"/>
                <a:gd name="T24" fmla="*/ 467 w 550"/>
                <a:gd name="T25" fmla="*/ 133 h 299"/>
                <a:gd name="T26" fmla="*/ 441 w 550"/>
                <a:gd name="T27" fmla="*/ 138 h 299"/>
                <a:gd name="T28" fmla="*/ 442 w 550"/>
                <a:gd name="T29" fmla="*/ 128 h 299"/>
                <a:gd name="T30" fmla="*/ 389 w 550"/>
                <a:gd name="T31" fmla="*/ 76 h 299"/>
                <a:gd name="T32" fmla="*/ 365 w 550"/>
                <a:gd name="T33" fmla="*/ 82 h 299"/>
                <a:gd name="T34" fmla="*/ 263 w 550"/>
                <a:gd name="T35" fmla="*/ 0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0" h="299">
                  <a:moveTo>
                    <a:pt x="263" y="0"/>
                  </a:moveTo>
                  <a:cubicBezTo>
                    <a:pt x="206" y="0"/>
                    <a:pt x="159" y="47"/>
                    <a:pt x="159" y="105"/>
                  </a:cubicBezTo>
                  <a:cubicBezTo>
                    <a:pt x="159" y="105"/>
                    <a:pt x="159" y="105"/>
                    <a:pt x="159" y="105"/>
                  </a:cubicBezTo>
                  <a:cubicBezTo>
                    <a:pt x="151" y="101"/>
                    <a:pt x="143" y="98"/>
                    <a:pt x="133" y="98"/>
                  </a:cubicBezTo>
                  <a:cubicBezTo>
                    <a:pt x="105" y="98"/>
                    <a:pt x="83" y="121"/>
                    <a:pt x="83" y="149"/>
                  </a:cubicBezTo>
                  <a:cubicBezTo>
                    <a:pt x="83" y="151"/>
                    <a:pt x="83" y="153"/>
                    <a:pt x="83" y="155"/>
                  </a:cubicBezTo>
                  <a:cubicBezTo>
                    <a:pt x="79" y="155"/>
                    <a:pt x="76" y="154"/>
                    <a:pt x="72" y="154"/>
                  </a:cubicBezTo>
                  <a:cubicBezTo>
                    <a:pt x="32" y="154"/>
                    <a:pt x="0" y="187"/>
                    <a:pt x="0" y="227"/>
                  </a:cubicBezTo>
                  <a:cubicBezTo>
                    <a:pt x="0" y="267"/>
                    <a:pt x="32" y="299"/>
                    <a:pt x="72" y="299"/>
                  </a:cubicBezTo>
                  <a:cubicBezTo>
                    <a:pt x="475" y="299"/>
                    <a:pt x="475" y="299"/>
                    <a:pt x="475" y="299"/>
                  </a:cubicBezTo>
                  <a:cubicBezTo>
                    <a:pt x="475" y="299"/>
                    <a:pt x="475" y="299"/>
                    <a:pt x="475" y="299"/>
                  </a:cubicBezTo>
                  <a:cubicBezTo>
                    <a:pt x="517" y="295"/>
                    <a:pt x="550" y="259"/>
                    <a:pt x="550" y="216"/>
                  </a:cubicBezTo>
                  <a:cubicBezTo>
                    <a:pt x="550" y="170"/>
                    <a:pt x="513" y="133"/>
                    <a:pt x="467" y="133"/>
                  </a:cubicBezTo>
                  <a:cubicBezTo>
                    <a:pt x="458" y="133"/>
                    <a:pt x="449" y="135"/>
                    <a:pt x="441" y="138"/>
                  </a:cubicBezTo>
                  <a:cubicBezTo>
                    <a:pt x="441" y="135"/>
                    <a:pt x="442" y="131"/>
                    <a:pt x="442" y="128"/>
                  </a:cubicBezTo>
                  <a:cubicBezTo>
                    <a:pt x="442" y="99"/>
                    <a:pt x="418" y="76"/>
                    <a:pt x="389" y="76"/>
                  </a:cubicBezTo>
                  <a:cubicBezTo>
                    <a:pt x="381" y="76"/>
                    <a:pt x="372" y="78"/>
                    <a:pt x="365" y="82"/>
                  </a:cubicBezTo>
                  <a:cubicBezTo>
                    <a:pt x="355" y="35"/>
                    <a:pt x="313" y="0"/>
                    <a:pt x="263" y="0"/>
                  </a:cubicBezTo>
                </a:path>
              </a:pathLst>
            </a:custGeom>
            <a:solidFill>
              <a:schemeClr val="bg1">
                <a:lumMod val="95000"/>
              </a:schemeClr>
            </a:solidFill>
            <a:ln w="19050">
              <a:solidFill>
                <a:schemeClr val="bg1"/>
              </a:solidFill>
            </a:ln>
          </p:spPr>
          <p:txBody>
            <a:bodyPr vert="horz" wrap="square" lIns="91440" tIns="45720" rIns="91440" bIns="45720" numCol="1" anchor="t" anchorCtr="0" compatLnSpc="1">
              <a:prstTxWarp prst="textNoShape">
                <a:avLst/>
              </a:prstTxWarp>
            </a:bodyPr>
            <a:lstStyle/>
            <a:p>
              <a:endParaRPr lang="en-US"/>
            </a:p>
          </p:txBody>
        </p:sp>
        <p:sp>
          <p:nvSpPr>
            <p:cNvPr id="23" name="Freeform 129"/>
            <p:cNvSpPr>
              <a:spLocks/>
            </p:cNvSpPr>
            <p:nvPr/>
          </p:nvSpPr>
          <p:spPr bwMode="auto">
            <a:xfrm>
              <a:off x="9984000" y="3229765"/>
              <a:ext cx="936000" cy="508235"/>
            </a:xfrm>
            <a:custGeom>
              <a:avLst/>
              <a:gdLst>
                <a:gd name="T0" fmla="*/ 156 w 327"/>
                <a:gd name="T1" fmla="*/ 0 h 177"/>
                <a:gd name="T2" fmla="*/ 94 w 327"/>
                <a:gd name="T3" fmla="*/ 62 h 177"/>
                <a:gd name="T4" fmla="*/ 94 w 327"/>
                <a:gd name="T5" fmla="*/ 62 h 177"/>
                <a:gd name="T6" fmla="*/ 79 w 327"/>
                <a:gd name="T7" fmla="*/ 58 h 177"/>
                <a:gd name="T8" fmla="*/ 49 w 327"/>
                <a:gd name="T9" fmla="*/ 88 h 177"/>
                <a:gd name="T10" fmla="*/ 49 w 327"/>
                <a:gd name="T11" fmla="*/ 92 h 177"/>
                <a:gd name="T12" fmla="*/ 43 w 327"/>
                <a:gd name="T13" fmla="*/ 91 h 177"/>
                <a:gd name="T14" fmla="*/ 0 w 327"/>
                <a:gd name="T15" fmla="*/ 134 h 177"/>
                <a:gd name="T16" fmla="*/ 43 w 327"/>
                <a:gd name="T17" fmla="*/ 177 h 177"/>
                <a:gd name="T18" fmla="*/ 282 w 327"/>
                <a:gd name="T19" fmla="*/ 177 h 177"/>
                <a:gd name="T20" fmla="*/ 282 w 327"/>
                <a:gd name="T21" fmla="*/ 177 h 177"/>
                <a:gd name="T22" fmla="*/ 327 w 327"/>
                <a:gd name="T23" fmla="*/ 128 h 177"/>
                <a:gd name="T24" fmla="*/ 278 w 327"/>
                <a:gd name="T25" fmla="*/ 79 h 177"/>
                <a:gd name="T26" fmla="*/ 262 w 327"/>
                <a:gd name="T27" fmla="*/ 81 h 177"/>
                <a:gd name="T28" fmla="*/ 263 w 327"/>
                <a:gd name="T29" fmla="*/ 76 h 177"/>
                <a:gd name="T30" fmla="*/ 231 w 327"/>
                <a:gd name="T31" fmla="*/ 45 h 177"/>
                <a:gd name="T32" fmla="*/ 217 w 327"/>
                <a:gd name="T33" fmla="*/ 48 h 177"/>
                <a:gd name="T34" fmla="*/ 156 w 327"/>
                <a:gd name="T35"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7" h="177">
                  <a:moveTo>
                    <a:pt x="156" y="0"/>
                  </a:moveTo>
                  <a:cubicBezTo>
                    <a:pt x="122" y="0"/>
                    <a:pt x="94" y="27"/>
                    <a:pt x="94" y="62"/>
                  </a:cubicBezTo>
                  <a:cubicBezTo>
                    <a:pt x="94" y="62"/>
                    <a:pt x="94" y="62"/>
                    <a:pt x="94" y="62"/>
                  </a:cubicBezTo>
                  <a:cubicBezTo>
                    <a:pt x="90" y="59"/>
                    <a:pt x="85" y="58"/>
                    <a:pt x="79" y="58"/>
                  </a:cubicBezTo>
                  <a:cubicBezTo>
                    <a:pt x="62" y="58"/>
                    <a:pt x="49" y="72"/>
                    <a:pt x="49" y="88"/>
                  </a:cubicBezTo>
                  <a:cubicBezTo>
                    <a:pt x="49" y="90"/>
                    <a:pt x="49" y="91"/>
                    <a:pt x="49" y="92"/>
                  </a:cubicBezTo>
                  <a:cubicBezTo>
                    <a:pt x="47" y="92"/>
                    <a:pt x="45" y="91"/>
                    <a:pt x="43" y="91"/>
                  </a:cubicBezTo>
                  <a:cubicBezTo>
                    <a:pt x="19" y="91"/>
                    <a:pt x="0" y="111"/>
                    <a:pt x="0" y="134"/>
                  </a:cubicBezTo>
                  <a:cubicBezTo>
                    <a:pt x="0" y="158"/>
                    <a:pt x="19" y="177"/>
                    <a:pt x="43" y="177"/>
                  </a:cubicBezTo>
                  <a:cubicBezTo>
                    <a:pt x="282" y="177"/>
                    <a:pt x="282" y="177"/>
                    <a:pt x="282" y="177"/>
                  </a:cubicBezTo>
                  <a:cubicBezTo>
                    <a:pt x="282" y="177"/>
                    <a:pt x="282" y="177"/>
                    <a:pt x="282" y="177"/>
                  </a:cubicBezTo>
                  <a:cubicBezTo>
                    <a:pt x="307" y="175"/>
                    <a:pt x="327" y="154"/>
                    <a:pt x="327" y="128"/>
                  </a:cubicBezTo>
                  <a:cubicBezTo>
                    <a:pt x="327" y="101"/>
                    <a:pt x="305" y="79"/>
                    <a:pt x="278" y="79"/>
                  </a:cubicBezTo>
                  <a:cubicBezTo>
                    <a:pt x="272" y="79"/>
                    <a:pt x="267" y="80"/>
                    <a:pt x="262" y="81"/>
                  </a:cubicBezTo>
                  <a:cubicBezTo>
                    <a:pt x="262" y="80"/>
                    <a:pt x="263" y="78"/>
                    <a:pt x="263" y="76"/>
                  </a:cubicBezTo>
                  <a:cubicBezTo>
                    <a:pt x="263" y="59"/>
                    <a:pt x="249" y="45"/>
                    <a:pt x="231" y="45"/>
                  </a:cubicBezTo>
                  <a:cubicBezTo>
                    <a:pt x="226" y="45"/>
                    <a:pt x="221" y="46"/>
                    <a:pt x="217" y="48"/>
                  </a:cubicBezTo>
                  <a:cubicBezTo>
                    <a:pt x="211" y="20"/>
                    <a:pt x="186" y="0"/>
                    <a:pt x="156" y="0"/>
                  </a:cubicBezTo>
                </a:path>
              </a:pathLst>
            </a:custGeom>
            <a:solidFill>
              <a:srgbClr val="E7F0F2"/>
            </a:solid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Freeform 131"/>
            <p:cNvSpPr>
              <a:spLocks/>
            </p:cNvSpPr>
            <p:nvPr/>
          </p:nvSpPr>
          <p:spPr bwMode="auto">
            <a:xfrm>
              <a:off x="7536000" y="2421000"/>
              <a:ext cx="2520000" cy="1186500"/>
            </a:xfrm>
            <a:custGeom>
              <a:avLst/>
              <a:gdLst>
                <a:gd name="T0" fmla="*/ 212 w 355"/>
                <a:gd name="T1" fmla="*/ 0 h 167"/>
                <a:gd name="T2" fmla="*/ 157 w 355"/>
                <a:gd name="T3" fmla="*/ 32 h 167"/>
                <a:gd name="T4" fmla="*/ 127 w 355"/>
                <a:gd name="T5" fmla="*/ 21 h 167"/>
                <a:gd name="T6" fmla="*/ 83 w 355"/>
                <a:gd name="T7" fmla="*/ 63 h 167"/>
                <a:gd name="T8" fmla="*/ 72 w 355"/>
                <a:gd name="T9" fmla="*/ 58 h 167"/>
                <a:gd name="T10" fmla="*/ 55 w 355"/>
                <a:gd name="T11" fmla="*/ 75 h 167"/>
                <a:gd name="T12" fmla="*/ 55 w 355"/>
                <a:gd name="T13" fmla="*/ 75 h 167"/>
                <a:gd name="T14" fmla="*/ 46 w 355"/>
                <a:gd name="T15" fmla="*/ 75 h 167"/>
                <a:gd name="T16" fmla="*/ 0 w 355"/>
                <a:gd name="T17" fmla="*/ 121 h 167"/>
                <a:gd name="T18" fmla="*/ 46 w 355"/>
                <a:gd name="T19" fmla="*/ 167 h 167"/>
                <a:gd name="T20" fmla="*/ 298 w 355"/>
                <a:gd name="T21" fmla="*/ 167 h 167"/>
                <a:gd name="T22" fmla="*/ 355 w 355"/>
                <a:gd name="T23" fmla="*/ 110 h 167"/>
                <a:gd name="T24" fmla="*/ 298 w 355"/>
                <a:gd name="T25" fmla="*/ 53 h 167"/>
                <a:gd name="T26" fmla="*/ 274 w 355"/>
                <a:gd name="T27" fmla="*/ 58 h 167"/>
                <a:gd name="T28" fmla="*/ 212 w 355"/>
                <a:gd name="T29"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5" h="167">
                  <a:moveTo>
                    <a:pt x="212" y="0"/>
                  </a:moveTo>
                  <a:cubicBezTo>
                    <a:pt x="188" y="0"/>
                    <a:pt x="167" y="13"/>
                    <a:pt x="157" y="32"/>
                  </a:cubicBezTo>
                  <a:cubicBezTo>
                    <a:pt x="149" y="25"/>
                    <a:pt x="138" y="21"/>
                    <a:pt x="127" y="21"/>
                  </a:cubicBezTo>
                  <a:cubicBezTo>
                    <a:pt x="103" y="21"/>
                    <a:pt x="84" y="39"/>
                    <a:pt x="83" y="63"/>
                  </a:cubicBezTo>
                  <a:cubicBezTo>
                    <a:pt x="80" y="60"/>
                    <a:pt x="76" y="58"/>
                    <a:pt x="72" y="58"/>
                  </a:cubicBezTo>
                  <a:cubicBezTo>
                    <a:pt x="63" y="58"/>
                    <a:pt x="55" y="66"/>
                    <a:pt x="55" y="75"/>
                  </a:cubicBezTo>
                  <a:cubicBezTo>
                    <a:pt x="55" y="75"/>
                    <a:pt x="55" y="75"/>
                    <a:pt x="55" y="75"/>
                  </a:cubicBezTo>
                  <a:cubicBezTo>
                    <a:pt x="52" y="75"/>
                    <a:pt x="49" y="75"/>
                    <a:pt x="46" y="75"/>
                  </a:cubicBezTo>
                  <a:cubicBezTo>
                    <a:pt x="21" y="75"/>
                    <a:pt x="0" y="95"/>
                    <a:pt x="0" y="121"/>
                  </a:cubicBezTo>
                  <a:cubicBezTo>
                    <a:pt x="0" y="146"/>
                    <a:pt x="21" y="167"/>
                    <a:pt x="46" y="167"/>
                  </a:cubicBezTo>
                  <a:cubicBezTo>
                    <a:pt x="298" y="167"/>
                    <a:pt x="298" y="167"/>
                    <a:pt x="298" y="167"/>
                  </a:cubicBezTo>
                  <a:cubicBezTo>
                    <a:pt x="329" y="167"/>
                    <a:pt x="355" y="141"/>
                    <a:pt x="355" y="110"/>
                  </a:cubicBezTo>
                  <a:cubicBezTo>
                    <a:pt x="355" y="78"/>
                    <a:pt x="329" y="53"/>
                    <a:pt x="298" y="53"/>
                  </a:cubicBezTo>
                  <a:cubicBezTo>
                    <a:pt x="289" y="53"/>
                    <a:pt x="281" y="55"/>
                    <a:pt x="274" y="58"/>
                  </a:cubicBezTo>
                  <a:cubicBezTo>
                    <a:pt x="272" y="25"/>
                    <a:pt x="245" y="0"/>
                    <a:pt x="212" y="0"/>
                  </a:cubicBezTo>
                </a:path>
              </a:pathLst>
            </a:custGeom>
            <a:solidFill>
              <a:schemeClr val="accent2">
                <a:lumMod val="20000"/>
                <a:lumOff val="80000"/>
              </a:schemeClr>
            </a:solidFill>
            <a:ln w="19050">
              <a:solidFill>
                <a:schemeClr val="bg1"/>
              </a:solidFill>
            </a:ln>
          </p:spPr>
          <p:txBody>
            <a:bodyPr vert="horz" wrap="square" lIns="91440" tIns="45720" rIns="91440" bIns="45720" numCol="1" anchor="t" anchorCtr="0" compatLnSpc="1">
              <a:prstTxWarp prst="textNoShape">
                <a:avLst/>
              </a:prstTxWarp>
            </a:bodyPr>
            <a:lstStyle/>
            <a:p>
              <a:endParaRPr lang="en-US"/>
            </a:p>
          </p:txBody>
        </p:sp>
        <p:sp>
          <p:nvSpPr>
            <p:cNvPr id="25" name="Freeform 130"/>
            <p:cNvSpPr>
              <a:spLocks/>
            </p:cNvSpPr>
            <p:nvPr/>
          </p:nvSpPr>
          <p:spPr bwMode="auto">
            <a:xfrm>
              <a:off x="5304000" y="3069000"/>
              <a:ext cx="3672000" cy="1729937"/>
            </a:xfrm>
            <a:custGeom>
              <a:avLst/>
              <a:gdLst>
                <a:gd name="T0" fmla="*/ 442 w 742"/>
                <a:gd name="T1" fmla="*/ 0 h 349"/>
                <a:gd name="T2" fmla="*/ 327 w 742"/>
                <a:gd name="T3" fmla="*/ 68 h 349"/>
                <a:gd name="T4" fmla="*/ 265 w 742"/>
                <a:gd name="T5" fmla="*/ 44 h 349"/>
                <a:gd name="T6" fmla="*/ 174 w 742"/>
                <a:gd name="T7" fmla="*/ 132 h 349"/>
                <a:gd name="T8" fmla="*/ 150 w 742"/>
                <a:gd name="T9" fmla="*/ 123 h 349"/>
                <a:gd name="T10" fmla="*/ 115 w 742"/>
                <a:gd name="T11" fmla="*/ 158 h 349"/>
                <a:gd name="T12" fmla="*/ 115 w 742"/>
                <a:gd name="T13" fmla="*/ 159 h 349"/>
                <a:gd name="T14" fmla="*/ 97 w 742"/>
                <a:gd name="T15" fmla="*/ 157 h 349"/>
                <a:gd name="T16" fmla="*/ 0 w 742"/>
                <a:gd name="T17" fmla="*/ 253 h 349"/>
                <a:gd name="T18" fmla="*/ 97 w 742"/>
                <a:gd name="T19" fmla="*/ 349 h 349"/>
                <a:gd name="T20" fmla="*/ 623 w 742"/>
                <a:gd name="T21" fmla="*/ 349 h 349"/>
                <a:gd name="T22" fmla="*/ 742 w 742"/>
                <a:gd name="T23" fmla="*/ 230 h 349"/>
                <a:gd name="T24" fmla="*/ 623 w 742"/>
                <a:gd name="T25" fmla="*/ 111 h 349"/>
                <a:gd name="T26" fmla="*/ 573 w 742"/>
                <a:gd name="T27" fmla="*/ 122 h 349"/>
                <a:gd name="T28" fmla="*/ 442 w 742"/>
                <a:gd name="T29" fmla="*/ 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2" h="349">
                  <a:moveTo>
                    <a:pt x="442" y="0"/>
                  </a:moveTo>
                  <a:cubicBezTo>
                    <a:pt x="393" y="0"/>
                    <a:pt x="350" y="28"/>
                    <a:pt x="327" y="68"/>
                  </a:cubicBezTo>
                  <a:cubicBezTo>
                    <a:pt x="311" y="53"/>
                    <a:pt x="289" y="44"/>
                    <a:pt x="265" y="44"/>
                  </a:cubicBezTo>
                  <a:cubicBezTo>
                    <a:pt x="216" y="44"/>
                    <a:pt x="176" y="83"/>
                    <a:pt x="174" y="132"/>
                  </a:cubicBezTo>
                  <a:cubicBezTo>
                    <a:pt x="167" y="126"/>
                    <a:pt x="159" y="123"/>
                    <a:pt x="150" y="123"/>
                  </a:cubicBezTo>
                  <a:cubicBezTo>
                    <a:pt x="131" y="123"/>
                    <a:pt x="115" y="138"/>
                    <a:pt x="115" y="158"/>
                  </a:cubicBezTo>
                  <a:cubicBezTo>
                    <a:pt x="115" y="159"/>
                    <a:pt x="115" y="159"/>
                    <a:pt x="115" y="159"/>
                  </a:cubicBezTo>
                  <a:cubicBezTo>
                    <a:pt x="109" y="157"/>
                    <a:pt x="103" y="157"/>
                    <a:pt x="97" y="157"/>
                  </a:cubicBezTo>
                  <a:cubicBezTo>
                    <a:pt x="43" y="157"/>
                    <a:pt x="0" y="200"/>
                    <a:pt x="0" y="253"/>
                  </a:cubicBezTo>
                  <a:cubicBezTo>
                    <a:pt x="0" y="306"/>
                    <a:pt x="43" y="349"/>
                    <a:pt x="97" y="349"/>
                  </a:cubicBezTo>
                  <a:cubicBezTo>
                    <a:pt x="623" y="349"/>
                    <a:pt x="623" y="349"/>
                    <a:pt x="623" y="349"/>
                  </a:cubicBezTo>
                  <a:cubicBezTo>
                    <a:pt x="688" y="349"/>
                    <a:pt x="742" y="296"/>
                    <a:pt x="742" y="230"/>
                  </a:cubicBezTo>
                  <a:cubicBezTo>
                    <a:pt x="742" y="164"/>
                    <a:pt x="688" y="111"/>
                    <a:pt x="623" y="111"/>
                  </a:cubicBezTo>
                  <a:cubicBezTo>
                    <a:pt x="605" y="111"/>
                    <a:pt x="588" y="115"/>
                    <a:pt x="573" y="122"/>
                  </a:cubicBezTo>
                  <a:cubicBezTo>
                    <a:pt x="568" y="54"/>
                    <a:pt x="511" y="0"/>
                    <a:pt x="442" y="0"/>
                  </a:cubicBezTo>
                </a:path>
              </a:pathLst>
            </a:custGeom>
            <a:solidFill>
              <a:schemeClr val="accent1"/>
            </a:solidFill>
            <a:ln w="19050">
              <a:solidFill>
                <a:schemeClr val="bg1"/>
              </a:solidFill>
            </a:ln>
          </p:spPr>
          <p:txBody>
            <a:bodyPr vert="horz" wrap="square" lIns="91440" tIns="45720" rIns="91440" bIns="45720" numCol="1" anchor="t" anchorCtr="0" compatLnSpc="1">
              <a:prstTxWarp prst="textNoShape">
                <a:avLst/>
              </a:prstTxWarp>
            </a:bodyPr>
            <a:lstStyle/>
            <a:p>
              <a:endParaRPr lang="en-US"/>
            </a:p>
          </p:txBody>
        </p:sp>
        <p:sp>
          <p:nvSpPr>
            <p:cNvPr id="26" name="Freeform 132"/>
            <p:cNvSpPr>
              <a:spLocks/>
            </p:cNvSpPr>
            <p:nvPr/>
          </p:nvSpPr>
          <p:spPr bwMode="auto">
            <a:xfrm>
              <a:off x="7752000" y="3501000"/>
              <a:ext cx="2808000" cy="1327186"/>
            </a:xfrm>
            <a:custGeom>
              <a:avLst/>
              <a:gdLst>
                <a:gd name="T0" fmla="*/ 290 w 487"/>
                <a:gd name="T1" fmla="*/ 0 h 229"/>
                <a:gd name="T2" fmla="*/ 214 w 487"/>
                <a:gd name="T3" fmla="*/ 44 h 229"/>
                <a:gd name="T4" fmla="*/ 174 w 487"/>
                <a:gd name="T5" fmla="*/ 28 h 229"/>
                <a:gd name="T6" fmla="*/ 114 w 487"/>
                <a:gd name="T7" fmla="*/ 86 h 229"/>
                <a:gd name="T8" fmla="*/ 98 w 487"/>
                <a:gd name="T9" fmla="*/ 80 h 229"/>
                <a:gd name="T10" fmla="*/ 75 w 487"/>
                <a:gd name="T11" fmla="*/ 103 h 229"/>
                <a:gd name="T12" fmla="*/ 75 w 487"/>
                <a:gd name="T13" fmla="*/ 104 h 229"/>
                <a:gd name="T14" fmla="*/ 63 w 487"/>
                <a:gd name="T15" fmla="*/ 102 h 229"/>
                <a:gd name="T16" fmla="*/ 0 w 487"/>
                <a:gd name="T17" fmla="*/ 166 h 229"/>
                <a:gd name="T18" fmla="*/ 63 w 487"/>
                <a:gd name="T19" fmla="*/ 229 h 229"/>
                <a:gd name="T20" fmla="*/ 408 w 487"/>
                <a:gd name="T21" fmla="*/ 229 h 229"/>
                <a:gd name="T22" fmla="*/ 487 w 487"/>
                <a:gd name="T23" fmla="*/ 151 h 229"/>
                <a:gd name="T24" fmla="*/ 408 w 487"/>
                <a:gd name="T25" fmla="*/ 72 h 229"/>
                <a:gd name="T26" fmla="*/ 376 w 487"/>
                <a:gd name="T27" fmla="*/ 80 h 229"/>
                <a:gd name="T28" fmla="*/ 290 w 487"/>
                <a:gd name="T29" fmla="*/ 0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7" h="229">
                  <a:moveTo>
                    <a:pt x="290" y="0"/>
                  </a:moveTo>
                  <a:cubicBezTo>
                    <a:pt x="257" y="0"/>
                    <a:pt x="229" y="18"/>
                    <a:pt x="214" y="44"/>
                  </a:cubicBezTo>
                  <a:cubicBezTo>
                    <a:pt x="204" y="35"/>
                    <a:pt x="189" y="28"/>
                    <a:pt x="174" y="28"/>
                  </a:cubicBezTo>
                  <a:cubicBezTo>
                    <a:pt x="141" y="28"/>
                    <a:pt x="115" y="54"/>
                    <a:pt x="114" y="86"/>
                  </a:cubicBezTo>
                  <a:cubicBezTo>
                    <a:pt x="109" y="82"/>
                    <a:pt x="104" y="80"/>
                    <a:pt x="98" y="80"/>
                  </a:cubicBezTo>
                  <a:cubicBezTo>
                    <a:pt x="85" y="80"/>
                    <a:pt x="75" y="90"/>
                    <a:pt x="75" y="103"/>
                  </a:cubicBezTo>
                  <a:cubicBezTo>
                    <a:pt x="75" y="104"/>
                    <a:pt x="75" y="104"/>
                    <a:pt x="75" y="104"/>
                  </a:cubicBezTo>
                  <a:cubicBezTo>
                    <a:pt x="71" y="103"/>
                    <a:pt x="67" y="102"/>
                    <a:pt x="63" y="102"/>
                  </a:cubicBezTo>
                  <a:cubicBezTo>
                    <a:pt x="28" y="102"/>
                    <a:pt x="0" y="131"/>
                    <a:pt x="0" y="166"/>
                  </a:cubicBezTo>
                  <a:cubicBezTo>
                    <a:pt x="0" y="201"/>
                    <a:pt x="28" y="229"/>
                    <a:pt x="63" y="229"/>
                  </a:cubicBezTo>
                  <a:cubicBezTo>
                    <a:pt x="408" y="229"/>
                    <a:pt x="408" y="229"/>
                    <a:pt x="408" y="229"/>
                  </a:cubicBezTo>
                  <a:cubicBezTo>
                    <a:pt x="452" y="229"/>
                    <a:pt x="487" y="194"/>
                    <a:pt x="487" y="151"/>
                  </a:cubicBezTo>
                  <a:cubicBezTo>
                    <a:pt x="487" y="107"/>
                    <a:pt x="452" y="72"/>
                    <a:pt x="408" y="72"/>
                  </a:cubicBezTo>
                  <a:cubicBezTo>
                    <a:pt x="397" y="72"/>
                    <a:pt x="386" y="75"/>
                    <a:pt x="376" y="80"/>
                  </a:cubicBezTo>
                  <a:cubicBezTo>
                    <a:pt x="373" y="35"/>
                    <a:pt x="335" y="0"/>
                    <a:pt x="290" y="0"/>
                  </a:cubicBezTo>
                </a:path>
              </a:pathLst>
            </a:custGeom>
            <a:solidFill>
              <a:schemeClr val="accent2"/>
            </a:solid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133"/>
            <p:cNvSpPr>
              <a:spLocks/>
            </p:cNvSpPr>
            <p:nvPr/>
          </p:nvSpPr>
          <p:spPr bwMode="auto">
            <a:xfrm>
              <a:off x="7464000" y="2061000"/>
              <a:ext cx="704850" cy="331788"/>
            </a:xfrm>
            <a:custGeom>
              <a:avLst/>
              <a:gdLst>
                <a:gd name="T0" fmla="*/ 195 w 328"/>
                <a:gd name="T1" fmla="*/ 0 h 154"/>
                <a:gd name="T2" fmla="*/ 144 w 328"/>
                <a:gd name="T3" fmla="*/ 30 h 154"/>
                <a:gd name="T4" fmla="*/ 117 w 328"/>
                <a:gd name="T5" fmla="*/ 19 h 154"/>
                <a:gd name="T6" fmla="*/ 76 w 328"/>
                <a:gd name="T7" fmla="*/ 58 h 154"/>
                <a:gd name="T8" fmla="*/ 66 w 328"/>
                <a:gd name="T9" fmla="*/ 54 h 154"/>
                <a:gd name="T10" fmla="*/ 50 w 328"/>
                <a:gd name="T11" fmla="*/ 70 h 154"/>
                <a:gd name="T12" fmla="*/ 50 w 328"/>
                <a:gd name="T13" fmla="*/ 70 h 154"/>
                <a:gd name="T14" fmla="*/ 42 w 328"/>
                <a:gd name="T15" fmla="*/ 69 h 154"/>
                <a:gd name="T16" fmla="*/ 0 w 328"/>
                <a:gd name="T17" fmla="*/ 112 h 154"/>
                <a:gd name="T18" fmla="*/ 42 w 328"/>
                <a:gd name="T19" fmla="*/ 154 h 154"/>
                <a:gd name="T20" fmla="*/ 275 w 328"/>
                <a:gd name="T21" fmla="*/ 154 h 154"/>
                <a:gd name="T22" fmla="*/ 328 w 328"/>
                <a:gd name="T23" fmla="*/ 102 h 154"/>
                <a:gd name="T24" fmla="*/ 275 w 328"/>
                <a:gd name="T25" fmla="*/ 49 h 154"/>
                <a:gd name="T26" fmla="*/ 253 w 328"/>
                <a:gd name="T27" fmla="*/ 54 h 154"/>
                <a:gd name="T28" fmla="*/ 195 w 328"/>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8" h="154">
                  <a:moveTo>
                    <a:pt x="195" y="0"/>
                  </a:moveTo>
                  <a:cubicBezTo>
                    <a:pt x="173" y="0"/>
                    <a:pt x="154" y="12"/>
                    <a:pt x="144" y="30"/>
                  </a:cubicBezTo>
                  <a:cubicBezTo>
                    <a:pt x="137" y="24"/>
                    <a:pt x="127" y="19"/>
                    <a:pt x="117" y="19"/>
                  </a:cubicBezTo>
                  <a:cubicBezTo>
                    <a:pt x="95" y="19"/>
                    <a:pt x="77" y="37"/>
                    <a:pt x="76" y="58"/>
                  </a:cubicBezTo>
                  <a:cubicBezTo>
                    <a:pt x="74" y="56"/>
                    <a:pt x="70" y="54"/>
                    <a:pt x="66" y="54"/>
                  </a:cubicBezTo>
                  <a:cubicBezTo>
                    <a:pt x="57" y="54"/>
                    <a:pt x="50" y="61"/>
                    <a:pt x="50" y="70"/>
                  </a:cubicBezTo>
                  <a:cubicBezTo>
                    <a:pt x="50" y="70"/>
                    <a:pt x="50" y="70"/>
                    <a:pt x="50" y="70"/>
                  </a:cubicBezTo>
                  <a:cubicBezTo>
                    <a:pt x="48" y="70"/>
                    <a:pt x="45" y="69"/>
                    <a:pt x="42" y="69"/>
                  </a:cubicBezTo>
                  <a:cubicBezTo>
                    <a:pt x="19" y="69"/>
                    <a:pt x="0" y="88"/>
                    <a:pt x="0" y="112"/>
                  </a:cubicBezTo>
                  <a:cubicBezTo>
                    <a:pt x="0" y="135"/>
                    <a:pt x="19" y="154"/>
                    <a:pt x="42" y="154"/>
                  </a:cubicBezTo>
                  <a:cubicBezTo>
                    <a:pt x="275" y="154"/>
                    <a:pt x="275" y="154"/>
                    <a:pt x="275" y="154"/>
                  </a:cubicBezTo>
                  <a:cubicBezTo>
                    <a:pt x="304" y="154"/>
                    <a:pt x="328" y="131"/>
                    <a:pt x="328" y="102"/>
                  </a:cubicBezTo>
                  <a:cubicBezTo>
                    <a:pt x="328" y="73"/>
                    <a:pt x="304" y="49"/>
                    <a:pt x="275" y="49"/>
                  </a:cubicBezTo>
                  <a:cubicBezTo>
                    <a:pt x="267" y="49"/>
                    <a:pt x="260" y="51"/>
                    <a:pt x="253" y="54"/>
                  </a:cubicBezTo>
                  <a:cubicBezTo>
                    <a:pt x="251" y="24"/>
                    <a:pt x="226" y="0"/>
                    <a:pt x="195" y="0"/>
                  </a:cubicBezTo>
                </a:path>
              </a:pathLst>
            </a:custGeom>
            <a:solidFill>
              <a:schemeClr val="bg1">
                <a:lumMod val="95000"/>
              </a:schemeClr>
            </a:solidFill>
            <a:ln w="19050">
              <a:solidFill>
                <a:schemeClr val="bg1"/>
              </a:solidFill>
            </a:ln>
          </p:spPr>
          <p:txBody>
            <a:bodyPr vert="horz" wrap="square" lIns="91440" tIns="45720" rIns="91440" bIns="45720" numCol="1" anchor="t" anchorCtr="0" compatLnSpc="1">
              <a:prstTxWarp prst="textNoShape">
                <a:avLst/>
              </a:prstTxWarp>
            </a:bodyPr>
            <a:lstStyle/>
            <a:p>
              <a:endParaRPr lang="en-US"/>
            </a:p>
          </p:txBody>
        </p:sp>
      </p:grpSp>
      <p:sp>
        <p:nvSpPr>
          <p:cNvPr id="28" name="Rectangle 27"/>
          <p:cNvSpPr>
            <a:spLocks/>
          </p:cNvSpPr>
          <p:nvPr userDrawn="1"/>
        </p:nvSpPr>
        <p:spPr>
          <a:xfrm>
            <a:off x="4368000" y="3789000"/>
            <a:ext cx="137160" cy="13716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p:cNvSpPr/>
          <p:nvPr userDrawn="1"/>
        </p:nvSpPr>
        <p:spPr>
          <a:xfrm>
            <a:off x="5952000" y="2277000"/>
            <a:ext cx="137160" cy="13716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p:cNvSpPr/>
          <p:nvPr userDrawn="1"/>
        </p:nvSpPr>
        <p:spPr>
          <a:xfrm>
            <a:off x="8133492" y="1448334"/>
            <a:ext cx="137160" cy="13716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p:cNvSpPr/>
          <p:nvPr userDrawn="1"/>
        </p:nvSpPr>
        <p:spPr>
          <a:xfrm>
            <a:off x="10314984" y="2277000"/>
            <a:ext cx="137160" cy="13716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p:cNvSpPr>
            <a:spLocks/>
          </p:cNvSpPr>
          <p:nvPr userDrawn="1"/>
        </p:nvSpPr>
        <p:spPr>
          <a:xfrm>
            <a:off x="4368000" y="2997000"/>
            <a:ext cx="137160" cy="13716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p:cNvSpPr/>
          <p:nvPr userDrawn="1"/>
        </p:nvSpPr>
        <p:spPr>
          <a:xfrm>
            <a:off x="11699775" y="2997000"/>
            <a:ext cx="137160" cy="13716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39"/>
          <p:cNvSpPr/>
          <p:nvPr userDrawn="1"/>
        </p:nvSpPr>
        <p:spPr>
          <a:xfrm>
            <a:off x="11699775" y="3789000"/>
            <a:ext cx="137160" cy="13716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1" name="Straight Connector 40"/>
          <p:cNvCxnSpPr>
            <a:stCxn id="28" idx="0"/>
            <a:endCxn id="38" idx="2"/>
          </p:cNvCxnSpPr>
          <p:nvPr userDrawn="1"/>
        </p:nvCxnSpPr>
        <p:spPr>
          <a:xfrm flipV="1">
            <a:off x="4436580" y="3134160"/>
            <a:ext cx="0" cy="654840"/>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a:stCxn id="40" idx="0"/>
            <a:endCxn id="39" idx="2"/>
          </p:cNvCxnSpPr>
          <p:nvPr userDrawn="1"/>
        </p:nvCxnSpPr>
        <p:spPr>
          <a:xfrm flipV="1">
            <a:off x="11768355" y="3134160"/>
            <a:ext cx="0" cy="654840"/>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3" name="Elbow Connector 42"/>
          <p:cNvCxnSpPr>
            <a:stCxn id="38" idx="3"/>
            <a:endCxn id="35" idx="1"/>
          </p:cNvCxnSpPr>
          <p:nvPr userDrawn="1"/>
        </p:nvCxnSpPr>
        <p:spPr>
          <a:xfrm flipV="1">
            <a:off x="4505160" y="2345580"/>
            <a:ext cx="1446840" cy="720000"/>
          </a:xfrm>
          <a:prstGeom prst="bentConnector3">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4" name="Elbow Connector 43"/>
          <p:cNvCxnSpPr>
            <a:stCxn id="39" idx="1"/>
            <a:endCxn id="37" idx="3"/>
          </p:cNvCxnSpPr>
          <p:nvPr userDrawn="1"/>
        </p:nvCxnSpPr>
        <p:spPr>
          <a:xfrm rot="10800000">
            <a:off x="10452145" y="2345580"/>
            <a:ext cx="1247631" cy="720000"/>
          </a:xfrm>
          <a:prstGeom prst="bentConnector3">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5" name="Elbow Connector 44"/>
          <p:cNvCxnSpPr>
            <a:stCxn id="35" idx="3"/>
            <a:endCxn id="36" idx="1"/>
          </p:cNvCxnSpPr>
          <p:nvPr userDrawn="1"/>
        </p:nvCxnSpPr>
        <p:spPr>
          <a:xfrm flipV="1">
            <a:off x="6089160" y="1516914"/>
            <a:ext cx="2044332" cy="828666"/>
          </a:xfrm>
          <a:prstGeom prst="bentConnector3">
            <a:avLst>
              <a:gd name="adj1" fmla="val 50000"/>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6" name="Elbow Connector 45"/>
          <p:cNvCxnSpPr>
            <a:stCxn id="37" idx="1"/>
            <a:endCxn id="36" idx="3"/>
          </p:cNvCxnSpPr>
          <p:nvPr userDrawn="1"/>
        </p:nvCxnSpPr>
        <p:spPr>
          <a:xfrm rot="10800000">
            <a:off x="8270652" y="1516914"/>
            <a:ext cx="2044332" cy="828666"/>
          </a:xfrm>
          <a:prstGeom prst="bentConnector3">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a:stCxn id="36" idx="2"/>
          </p:cNvCxnSpPr>
          <p:nvPr userDrawn="1"/>
        </p:nvCxnSpPr>
        <p:spPr>
          <a:xfrm flipH="1">
            <a:off x="8180696" y="1585494"/>
            <a:ext cx="21376" cy="1243767"/>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48" name="Groupe 693">
            <a:extLst>
              <a:ext uri="{FF2B5EF4-FFF2-40B4-BE49-F238E27FC236}">
                <a16:creationId xmlns:a16="http://schemas.microsoft.com/office/drawing/2014/main" id="{D1D131A4-9957-415A-97AD-8CEA4BE9116C}"/>
              </a:ext>
            </a:extLst>
          </p:cNvPr>
          <p:cNvGrpSpPr/>
          <p:nvPr userDrawn="1"/>
        </p:nvGrpSpPr>
        <p:grpSpPr>
          <a:xfrm>
            <a:off x="5808000" y="1773000"/>
            <a:ext cx="424261" cy="385566"/>
            <a:chOff x="7740651" y="1963738"/>
            <a:chExt cx="487363" cy="442913"/>
          </a:xfrm>
        </p:grpSpPr>
        <p:sp>
          <p:nvSpPr>
            <p:cNvPr id="49" name="Freeform 148">
              <a:extLst>
                <a:ext uri="{FF2B5EF4-FFF2-40B4-BE49-F238E27FC236}">
                  <a16:creationId xmlns:a16="http://schemas.microsoft.com/office/drawing/2014/main" id="{D3B6DFB7-F6CC-4167-8028-695C0C01EBDA}"/>
                </a:ext>
              </a:extLst>
            </p:cNvPr>
            <p:cNvSpPr>
              <a:spLocks/>
            </p:cNvSpPr>
            <p:nvPr/>
          </p:nvSpPr>
          <p:spPr bwMode="auto">
            <a:xfrm>
              <a:off x="8024813" y="2220913"/>
              <a:ext cx="161925" cy="158750"/>
            </a:xfrm>
            <a:custGeom>
              <a:avLst/>
              <a:gdLst>
                <a:gd name="T0" fmla="*/ 45 w 48"/>
                <a:gd name="T1" fmla="*/ 41 h 47"/>
                <a:gd name="T2" fmla="*/ 25 w 48"/>
                <a:gd name="T3" fmla="*/ 41 h 47"/>
                <a:gd name="T4" fmla="*/ 13 w 48"/>
                <a:gd name="T5" fmla="*/ 29 h 47"/>
                <a:gd name="T6" fmla="*/ 13 w 48"/>
                <a:gd name="T7" fmla="*/ 19 h 47"/>
                <a:gd name="T8" fmla="*/ 19 w 48"/>
                <a:gd name="T9" fmla="*/ 19 h 47"/>
                <a:gd name="T10" fmla="*/ 10 w 48"/>
                <a:gd name="T11" fmla="*/ 0 h 47"/>
                <a:gd name="T12" fmla="*/ 0 w 48"/>
                <a:gd name="T13" fmla="*/ 19 h 47"/>
                <a:gd name="T14" fmla="*/ 6 w 48"/>
                <a:gd name="T15" fmla="*/ 19 h 47"/>
                <a:gd name="T16" fmla="*/ 6 w 48"/>
                <a:gd name="T17" fmla="*/ 29 h 47"/>
                <a:gd name="T18" fmla="*/ 25 w 48"/>
                <a:gd name="T19" fmla="*/ 47 h 47"/>
                <a:gd name="T20" fmla="*/ 45 w 48"/>
                <a:gd name="T21" fmla="*/ 47 h 47"/>
                <a:gd name="T22" fmla="*/ 48 w 48"/>
                <a:gd name="T23" fmla="*/ 44 h 47"/>
                <a:gd name="T24" fmla="*/ 45 w 48"/>
                <a:gd name="T25" fmla="*/ 4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 h="47">
                  <a:moveTo>
                    <a:pt x="45" y="41"/>
                  </a:moveTo>
                  <a:cubicBezTo>
                    <a:pt x="25" y="41"/>
                    <a:pt x="25" y="41"/>
                    <a:pt x="25" y="41"/>
                  </a:cubicBezTo>
                  <a:cubicBezTo>
                    <a:pt x="18" y="41"/>
                    <a:pt x="13" y="36"/>
                    <a:pt x="13" y="29"/>
                  </a:cubicBezTo>
                  <a:cubicBezTo>
                    <a:pt x="13" y="19"/>
                    <a:pt x="13" y="19"/>
                    <a:pt x="13" y="19"/>
                  </a:cubicBezTo>
                  <a:cubicBezTo>
                    <a:pt x="19" y="19"/>
                    <a:pt x="19" y="19"/>
                    <a:pt x="19" y="19"/>
                  </a:cubicBezTo>
                  <a:cubicBezTo>
                    <a:pt x="10" y="0"/>
                    <a:pt x="10" y="0"/>
                    <a:pt x="10" y="0"/>
                  </a:cubicBezTo>
                  <a:cubicBezTo>
                    <a:pt x="0" y="19"/>
                    <a:pt x="0" y="19"/>
                    <a:pt x="0" y="19"/>
                  </a:cubicBezTo>
                  <a:cubicBezTo>
                    <a:pt x="6" y="19"/>
                    <a:pt x="6" y="19"/>
                    <a:pt x="6" y="19"/>
                  </a:cubicBezTo>
                  <a:cubicBezTo>
                    <a:pt x="6" y="29"/>
                    <a:pt x="6" y="29"/>
                    <a:pt x="6" y="29"/>
                  </a:cubicBezTo>
                  <a:cubicBezTo>
                    <a:pt x="6" y="39"/>
                    <a:pt x="15" y="47"/>
                    <a:pt x="25" y="47"/>
                  </a:cubicBezTo>
                  <a:cubicBezTo>
                    <a:pt x="45" y="47"/>
                    <a:pt x="45" y="47"/>
                    <a:pt x="45" y="47"/>
                  </a:cubicBezTo>
                  <a:cubicBezTo>
                    <a:pt x="47" y="47"/>
                    <a:pt x="48" y="46"/>
                    <a:pt x="48" y="44"/>
                  </a:cubicBezTo>
                  <a:cubicBezTo>
                    <a:pt x="48" y="43"/>
                    <a:pt x="47" y="41"/>
                    <a:pt x="45" y="41"/>
                  </a:cubicBezTo>
                  <a:close/>
                </a:path>
              </a:pathLst>
            </a:custGeom>
            <a:solidFill>
              <a:srgbClr val="2B18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149">
              <a:extLst>
                <a:ext uri="{FF2B5EF4-FFF2-40B4-BE49-F238E27FC236}">
                  <a16:creationId xmlns:a16="http://schemas.microsoft.com/office/drawing/2014/main" id="{3CBC40C8-4CE1-4DEF-8998-D6CE42E68BDE}"/>
                </a:ext>
              </a:extLst>
            </p:cNvPr>
            <p:cNvSpPr>
              <a:spLocks/>
            </p:cNvSpPr>
            <p:nvPr/>
          </p:nvSpPr>
          <p:spPr bwMode="auto">
            <a:xfrm>
              <a:off x="7764463" y="2220913"/>
              <a:ext cx="161925" cy="158750"/>
            </a:xfrm>
            <a:custGeom>
              <a:avLst/>
              <a:gdLst>
                <a:gd name="T0" fmla="*/ 29 w 48"/>
                <a:gd name="T1" fmla="*/ 19 h 47"/>
                <a:gd name="T2" fmla="*/ 36 w 48"/>
                <a:gd name="T3" fmla="*/ 19 h 47"/>
                <a:gd name="T4" fmla="*/ 36 w 48"/>
                <a:gd name="T5" fmla="*/ 29 h 47"/>
                <a:gd name="T6" fmla="*/ 23 w 48"/>
                <a:gd name="T7" fmla="*/ 41 h 47"/>
                <a:gd name="T8" fmla="*/ 3 w 48"/>
                <a:gd name="T9" fmla="*/ 41 h 47"/>
                <a:gd name="T10" fmla="*/ 0 w 48"/>
                <a:gd name="T11" fmla="*/ 44 h 47"/>
                <a:gd name="T12" fmla="*/ 3 w 48"/>
                <a:gd name="T13" fmla="*/ 47 h 47"/>
                <a:gd name="T14" fmla="*/ 23 w 48"/>
                <a:gd name="T15" fmla="*/ 47 h 47"/>
                <a:gd name="T16" fmla="*/ 42 w 48"/>
                <a:gd name="T17" fmla="*/ 29 h 47"/>
                <a:gd name="T18" fmla="*/ 42 w 48"/>
                <a:gd name="T19" fmla="*/ 19 h 47"/>
                <a:gd name="T20" fmla="*/ 48 w 48"/>
                <a:gd name="T21" fmla="*/ 19 h 47"/>
                <a:gd name="T22" fmla="*/ 39 w 48"/>
                <a:gd name="T23" fmla="*/ 0 h 47"/>
                <a:gd name="T24" fmla="*/ 29 w 48"/>
                <a:gd name="T25" fmla="*/ 19 h 47"/>
                <a:gd name="T26" fmla="*/ 29 w 48"/>
                <a:gd name="T27" fmla="*/ 1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47">
                  <a:moveTo>
                    <a:pt x="29" y="19"/>
                  </a:moveTo>
                  <a:cubicBezTo>
                    <a:pt x="36" y="19"/>
                    <a:pt x="36" y="19"/>
                    <a:pt x="36" y="19"/>
                  </a:cubicBezTo>
                  <a:cubicBezTo>
                    <a:pt x="36" y="29"/>
                    <a:pt x="36" y="29"/>
                    <a:pt x="36" y="29"/>
                  </a:cubicBezTo>
                  <a:cubicBezTo>
                    <a:pt x="36" y="36"/>
                    <a:pt x="30" y="41"/>
                    <a:pt x="23" y="41"/>
                  </a:cubicBezTo>
                  <a:cubicBezTo>
                    <a:pt x="3" y="41"/>
                    <a:pt x="3" y="41"/>
                    <a:pt x="3" y="41"/>
                  </a:cubicBezTo>
                  <a:cubicBezTo>
                    <a:pt x="2" y="41"/>
                    <a:pt x="0" y="43"/>
                    <a:pt x="0" y="44"/>
                  </a:cubicBezTo>
                  <a:cubicBezTo>
                    <a:pt x="0" y="46"/>
                    <a:pt x="2" y="47"/>
                    <a:pt x="3" y="47"/>
                  </a:cubicBezTo>
                  <a:cubicBezTo>
                    <a:pt x="23" y="47"/>
                    <a:pt x="23" y="47"/>
                    <a:pt x="23" y="47"/>
                  </a:cubicBezTo>
                  <a:cubicBezTo>
                    <a:pt x="33" y="47"/>
                    <a:pt x="42" y="39"/>
                    <a:pt x="42" y="29"/>
                  </a:cubicBezTo>
                  <a:cubicBezTo>
                    <a:pt x="42" y="19"/>
                    <a:pt x="42" y="19"/>
                    <a:pt x="42" y="19"/>
                  </a:cubicBezTo>
                  <a:cubicBezTo>
                    <a:pt x="48" y="19"/>
                    <a:pt x="48" y="19"/>
                    <a:pt x="48" y="19"/>
                  </a:cubicBezTo>
                  <a:cubicBezTo>
                    <a:pt x="39" y="0"/>
                    <a:pt x="39" y="0"/>
                    <a:pt x="39" y="0"/>
                  </a:cubicBezTo>
                  <a:cubicBezTo>
                    <a:pt x="29" y="19"/>
                    <a:pt x="29" y="19"/>
                    <a:pt x="29" y="19"/>
                  </a:cubicBezTo>
                  <a:cubicBezTo>
                    <a:pt x="29" y="19"/>
                    <a:pt x="29" y="19"/>
                    <a:pt x="29" y="19"/>
                  </a:cubicBezTo>
                  <a:close/>
                </a:path>
              </a:pathLst>
            </a:custGeom>
            <a:solidFill>
              <a:srgbClr val="2B18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150">
              <a:extLst>
                <a:ext uri="{FF2B5EF4-FFF2-40B4-BE49-F238E27FC236}">
                  <a16:creationId xmlns:a16="http://schemas.microsoft.com/office/drawing/2014/main" id="{A0777EBD-E640-45E7-AAE0-94DDEBDEEFFF}"/>
                </a:ext>
              </a:extLst>
            </p:cNvPr>
            <p:cNvSpPr>
              <a:spLocks/>
            </p:cNvSpPr>
            <p:nvPr/>
          </p:nvSpPr>
          <p:spPr bwMode="auto">
            <a:xfrm>
              <a:off x="7943851" y="2220913"/>
              <a:ext cx="63500" cy="185738"/>
            </a:xfrm>
            <a:custGeom>
              <a:avLst/>
              <a:gdLst>
                <a:gd name="T0" fmla="*/ 0 w 19"/>
                <a:gd name="T1" fmla="*/ 19 h 55"/>
                <a:gd name="T2" fmla="*/ 7 w 19"/>
                <a:gd name="T3" fmla="*/ 19 h 55"/>
                <a:gd name="T4" fmla="*/ 7 w 19"/>
                <a:gd name="T5" fmla="*/ 52 h 55"/>
                <a:gd name="T6" fmla="*/ 10 w 19"/>
                <a:gd name="T7" fmla="*/ 55 h 55"/>
                <a:gd name="T8" fmla="*/ 13 w 19"/>
                <a:gd name="T9" fmla="*/ 52 h 55"/>
                <a:gd name="T10" fmla="*/ 13 w 19"/>
                <a:gd name="T11" fmla="*/ 19 h 55"/>
                <a:gd name="T12" fmla="*/ 19 w 19"/>
                <a:gd name="T13" fmla="*/ 19 h 55"/>
                <a:gd name="T14" fmla="*/ 10 w 19"/>
                <a:gd name="T15" fmla="*/ 0 h 55"/>
                <a:gd name="T16" fmla="*/ 0 w 19"/>
                <a:gd name="T17" fmla="*/ 19 h 55"/>
                <a:gd name="T18" fmla="*/ 0 w 19"/>
                <a:gd name="T19" fmla="*/ 1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55">
                  <a:moveTo>
                    <a:pt x="0" y="19"/>
                  </a:moveTo>
                  <a:cubicBezTo>
                    <a:pt x="7" y="19"/>
                    <a:pt x="7" y="19"/>
                    <a:pt x="7" y="19"/>
                  </a:cubicBezTo>
                  <a:cubicBezTo>
                    <a:pt x="7" y="52"/>
                    <a:pt x="7" y="52"/>
                    <a:pt x="7" y="52"/>
                  </a:cubicBezTo>
                  <a:cubicBezTo>
                    <a:pt x="7" y="54"/>
                    <a:pt x="8" y="55"/>
                    <a:pt x="10" y="55"/>
                  </a:cubicBezTo>
                  <a:cubicBezTo>
                    <a:pt x="11" y="55"/>
                    <a:pt x="13" y="54"/>
                    <a:pt x="13" y="52"/>
                  </a:cubicBezTo>
                  <a:cubicBezTo>
                    <a:pt x="13" y="19"/>
                    <a:pt x="13" y="19"/>
                    <a:pt x="13" y="19"/>
                  </a:cubicBezTo>
                  <a:cubicBezTo>
                    <a:pt x="19" y="19"/>
                    <a:pt x="19" y="19"/>
                    <a:pt x="19" y="19"/>
                  </a:cubicBezTo>
                  <a:cubicBezTo>
                    <a:pt x="10" y="0"/>
                    <a:pt x="10" y="0"/>
                    <a:pt x="10" y="0"/>
                  </a:cubicBezTo>
                  <a:cubicBezTo>
                    <a:pt x="0" y="19"/>
                    <a:pt x="0" y="19"/>
                    <a:pt x="0" y="19"/>
                  </a:cubicBezTo>
                  <a:cubicBezTo>
                    <a:pt x="0" y="19"/>
                    <a:pt x="0" y="19"/>
                    <a:pt x="0" y="19"/>
                  </a:cubicBezTo>
                  <a:close/>
                </a:path>
              </a:pathLst>
            </a:custGeom>
            <a:solidFill>
              <a:srgbClr val="2B18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151">
              <a:extLst>
                <a:ext uri="{FF2B5EF4-FFF2-40B4-BE49-F238E27FC236}">
                  <a16:creationId xmlns:a16="http://schemas.microsoft.com/office/drawing/2014/main" id="{72649389-922E-4B4C-B625-54709EDC6F4E}"/>
                </a:ext>
              </a:extLst>
            </p:cNvPr>
            <p:cNvSpPr>
              <a:spLocks/>
            </p:cNvSpPr>
            <p:nvPr/>
          </p:nvSpPr>
          <p:spPr bwMode="auto">
            <a:xfrm>
              <a:off x="7740651" y="1963738"/>
              <a:ext cx="487363" cy="301625"/>
            </a:xfrm>
            <a:custGeom>
              <a:avLst/>
              <a:gdLst>
                <a:gd name="T0" fmla="*/ 123 w 144"/>
                <a:gd name="T1" fmla="*/ 35 h 89"/>
                <a:gd name="T2" fmla="*/ 85 w 144"/>
                <a:gd name="T3" fmla="*/ 0 h 89"/>
                <a:gd name="T4" fmla="*/ 51 w 144"/>
                <a:gd name="T5" fmla="*/ 19 h 89"/>
                <a:gd name="T6" fmla="*/ 42 w 144"/>
                <a:gd name="T7" fmla="*/ 17 h 89"/>
                <a:gd name="T8" fmla="*/ 22 w 144"/>
                <a:gd name="T9" fmla="*/ 35 h 89"/>
                <a:gd name="T10" fmla="*/ 0 w 144"/>
                <a:gd name="T11" fmla="*/ 62 h 89"/>
                <a:gd name="T12" fmla="*/ 29 w 144"/>
                <a:gd name="T13" fmla="*/ 89 h 89"/>
                <a:gd name="T14" fmla="*/ 36 w 144"/>
                <a:gd name="T15" fmla="*/ 89 h 89"/>
                <a:gd name="T16" fmla="*/ 46 w 144"/>
                <a:gd name="T17" fmla="*/ 69 h 89"/>
                <a:gd name="T18" fmla="*/ 56 w 144"/>
                <a:gd name="T19" fmla="*/ 89 h 89"/>
                <a:gd name="T20" fmla="*/ 60 w 144"/>
                <a:gd name="T21" fmla="*/ 89 h 89"/>
                <a:gd name="T22" fmla="*/ 70 w 144"/>
                <a:gd name="T23" fmla="*/ 69 h 89"/>
                <a:gd name="T24" fmla="*/ 80 w 144"/>
                <a:gd name="T25" fmla="*/ 89 h 89"/>
                <a:gd name="T26" fmla="*/ 84 w 144"/>
                <a:gd name="T27" fmla="*/ 89 h 89"/>
                <a:gd name="T28" fmla="*/ 94 w 144"/>
                <a:gd name="T29" fmla="*/ 69 h 89"/>
                <a:gd name="T30" fmla="*/ 104 w 144"/>
                <a:gd name="T31" fmla="*/ 89 h 89"/>
                <a:gd name="T32" fmla="*/ 115 w 144"/>
                <a:gd name="T33" fmla="*/ 89 h 89"/>
                <a:gd name="T34" fmla="*/ 144 w 144"/>
                <a:gd name="T35" fmla="*/ 62 h 89"/>
                <a:gd name="T36" fmla="*/ 123 w 144"/>
                <a:gd name="T37" fmla="*/ 3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4" h="89">
                  <a:moveTo>
                    <a:pt x="123" y="35"/>
                  </a:moveTo>
                  <a:cubicBezTo>
                    <a:pt x="123" y="16"/>
                    <a:pt x="106" y="0"/>
                    <a:pt x="85" y="0"/>
                  </a:cubicBezTo>
                  <a:cubicBezTo>
                    <a:pt x="71" y="0"/>
                    <a:pt x="57" y="7"/>
                    <a:pt x="51" y="19"/>
                  </a:cubicBezTo>
                  <a:cubicBezTo>
                    <a:pt x="48" y="18"/>
                    <a:pt x="45" y="17"/>
                    <a:pt x="42" y="17"/>
                  </a:cubicBezTo>
                  <a:cubicBezTo>
                    <a:pt x="32" y="17"/>
                    <a:pt x="23" y="25"/>
                    <a:pt x="22" y="35"/>
                  </a:cubicBezTo>
                  <a:cubicBezTo>
                    <a:pt x="9" y="38"/>
                    <a:pt x="0" y="49"/>
                    <a:pt x="0" y="62"/>
                  </a:cubicBezTo>
                  <a:cubicBezTo>
                    <a:pt x="0" y="77"/>
                    <a:pt x="13" y="89"/>
                    <a:pt x="29" y="89"/>
                  </a:cubicBezTo>
                  <a:cubicBezTo>
                    <a:pt x="36" y="89"/>
                    <a:pt x="36" y="89"/>
                    <a:pt x="36" y="89"/>
                  </a:cubicBezTo>
                  <a:cubicBezTo>
                    <a:pt x="46" y="69"/>
                    <a:pt x="46" y="69"/>
                    <a:pt x="46" y="69"/>
                  </a:cubicBezTo>
                  <a:cubicBezTo>
                    <a:pt x="56" y="89"/>
                    <a:pt x="56" y="89"/>
                    <a:pt x="56" y="89"/>
                  </a:cubicBezTo>
                  <a:cubicBezTo>
                    <a:pt x="60" y="89"/>
                    <a:pt x="60" y="89"/>
                    <a:pt x="60" y="89"/>
                  </a:cubicBezTo>
                  <a:cubicBezTo>
                    <a:pt x="70" y="69"/>
                    <a:pt x="70" y="69"/>
                    <a:pt x="70" y="69"/>
                  </a:cubicBezTo>
                  <a:cubicBezTo>
                    <a:pt x="80" y="89"/>
                    <a:pt x="80" y="89"/>
                    <a:pt x="80" y="89"/>
                  </a:cubicBezTo>
                  <a:cubicBezTo>
                    <a:pt x="84" y="89"/>
                    <a:pt x="84" y="89"/>
                    <a:pt x="84" y="89"/>
                  </a:cubicBezTo>
                  <a:cubicBezTo>
                    <a:pt x="94" y="69"/>
                    <a:pt x="94" y="69"/>
                    <a:pt x="94" y="69"/>
                  </a:cubicBezTo>
                  <a:cubicBezTo>
                    <a:pt x="104" y="89"/>
                    <a:pt x="104" y="89"/>
                    <a:pt x="104" y="89"/>
                  </a:cubicBezTo>
                  <a:cubicBezTo>
                    <a:pt x="115" y="89"/>
                    <a:pt x="115" y="89"/>
                    <a:pt x="115" y="89"/>
                  </a:cubicBezTo>
                  <a:cubicBezTo>
                    <a:pt x="131" y="89"/>
                    <a:pt x="144" y="77"/>
                    <a:pt x="144" y="62"/>
                  </a:cubicBezTo>
                  <a:cubicBezTo>
                    <a:pt x="144" y="49"/>
                    <a:pt x="135" y="39"/>
                    <a:pt x="123" y="35"/>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3" name="Group 52"/>
          <p:cNvGrpSpPr/>
          <p:nvPr userDrawn="1"/>
        </p:nvGrpSpPr>
        <p:grpSpPr>
          <a:xfrm>
            <a:off x="10200000" y="1701000"/>
            <a:ext cx="382244" cy="444960"/>
            <a:chOff x="-7065963" y="2227263"/>
            <a:chExt cx="5205413" cy="6059487"/>
          </a:xfrm>
        </p:grpSpPr>
        <p:sp>
          <p:nvSpPr>
            <p:cNvPr id="54" name="Freeform 135"/>
            <p:cNvSpPr>
              <a:spLocks noEditPoints="1"/>
            </p:cNvSpPr>
            <p:nvPr/>
          </p:nvSpPr>
          <p:spPr bwMode="auto">
            <a:xfrm>
              <a:off x="-7065963" y="2227263"/>
              <a:ext cx="5205413" cy="3692525"/>
            </a:xfrm>
            <a:custGeom>
              <a:avLst/>
              <a:gdLst>
                <a:gd name="T0" fmla="*/ 1385 w 1385"/>
                <a:gd name="T1" fmla="*/ 425 h 983"/>
                <a:gd name="T2" fmla="*/ 957 w 1385"/>
                <a:gd name="T3" fmla="*/ 0 h 983"/>
                <a:gd name="T4" fmla="*/ 548 w 1385"/>
                <a:gd name="T5" fmla="*/ 307 h 983"/>
                <a:gd name="T6" fmla="*/ 458 w 1385"/>
                <a:gd name="T7" fmla="*/ 294 h 983"/>
                <a:gd name="T8" fmla="*/ 154 w 1385"/>
                <a:gd name="T9" fmla="*/ 591 h 983"/>
                <a:gd name="T10" fmla="*/ 154 w 1385"/>
                <a:gd name="T11" fmla="*/ 612 h 983"/>
                <a:gd name="T12" fmla="*/ 0 w 1385"/>
                <a:gd name="T13" fmla="*/ 796 h 983"/>
                <a:gd name="T14" fmla="*/ 192 w 1385"/>
                <a:gd name="T15" fmla="*/ 983 h 983"/>
                <a:gd name="T16" fmla="*/ 1185 w 1385"/>
                <a:gd name="T17" fmla="*/ 983 h 983"/>
                <a:gd name="T18" fmla="*/ 1280 w 1385"/>
                <a:gd name="T19" fmla="*/ 955 h 983"/>
                <a:gd name="T20" fmla="*/ 1364 w 1385"/>
                <a:gd name="T21" fmla="*/ 845 h 983"/>
                <a:gd name="T22" fmla="*/ 1372 w 1385"/>
                <a:gd name="T23" fmla="*/ 794 h 983"/>
                <a:gd name="T24" fmla="*/ 1375 w 1385"/>
                <a:gd name="T25" fmla="*/ 786 h 983"/>
                <a:gd name="T26" fmla="*/ 1380 w 1385"/>
                <a:gd name="T27" fmla="*/ 778 h 983"/>
                <a:gd name="T28" fmla="*/ 1380 w 1385"/>
                <a:gd name="T29" fmla="*/ 425 h 983"/>
                <a:gd name="T30" fmla="*/ 1385 w 1385"/>
                <a:gd name="T31" fmla="*/ 425 h 983"/>
                <a:gd name="T32" fmla="*/ 1385 w 1385"/>
                <a:gd name="T33" fmla="*/ 425 h 983"/>
                <a:gd name="T34" fmla="*/ 1385 w 1385"/>
                <a:gd name="T35" fmla="*/ 425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85" h="983">
                  <a:moveTo>
                    <a:pt x="1385" y="425"/>
                  </a:moveTo>
                  <a:cubicBezTo>
                    <a:pt x="1385" y="192"/>
                    <a:pt x="1190" y="0"/>
                    <a:pt x="957" y="0"/>
                  </a:cubicBezTo>
                  <a:cubicBezTo>
                    <a:pt x="763" y="0"/>
                    <a:pt x="599" y="131"/>
                    <a:pt x="548" y="307"/>
                  </a:cubicBezTo>
                  <a:cubicBezTo>
                    <a:pt x="522" y="300"/>
                    <a:pt x="486" y="294"/>
                    <a:pt x="458" y="294"/>
                  </a:cubicBezTo>
                  <a:cubicBezTo>
                    <a:pt x="294" y="294"/>
                    <a:pt x="154" y="428"/>
                    <a:pt x="154" y="591"/>
                  </a:cubicBezTo>
                  <a:cubicBezTo>
                    <a:pt x="154" y="612"/>
                    <a:pt x="154" y="612"/>
                    <a:pt x="154" y="612"/>
                  </a:cubicBezTo>
                  <a:cubicBezTo>
                    <a:pt x="77" y="625"/>
                    <a:pt x="0" y="704"/>
                    <a:pt x="0" y="796"/>
                  </a:cubicBezTo>
                  <a:cubicBezTo>
                    <a:pt x="0" y="899"/>
                    <a:pt x="90" y="983"/>
                    <a:pt x="192" y="983"/>
                  </a:cubicBezTo>
                  <a:cubicBezTo>
                    <a:pt x="1185" y="983"/>
                    <a:pt x="1185" y="983"/>
                    <a:pt x="1185" y="983"/>
                  </a:cubicBezTo>
                  <a:cubicBezTo>
                    <a:pt x="1221" y="983"/>
                    <a:pt x="1252" y="973"/>
                    <a:pt x="1280" y="955"/>
                  </a:cubicBezTo>
                  <a:cubicBezTo>
                    <a:pt x="1321" y="934"/>
                    <a:pt x="1352" y="901"/>
                    <a:pt x="1364" y="845"/>
                  </a:cubicBezTo>
                  <a:cubicBezTo>
                    <a:pt x="1370" y="829"/>
                    <a:pt x="1372" y="812"/>
                    <a:pt x="1372" y="794"/>
                  </a:cubicBezTo>
                  <a:cubicBezTo>
                    <a:pt x="1372" y="791"/>
                    <a:pt x="1375" y="788"/>
                    <a:pt x="1375" y="786"/>
                  </a:cubicBezTo>
                  <a:cubicBezTo>
                    <a:pt x="1375" y="783"/>
                    <a:pt x="1380" y="781"/>
                    <a:pt x="1380" y="778"/>
                  </a:cubicBezTo>
                  <a:cubicBezTo>
                    <a:pt x="1380" y="425"/>
                    <a:pt x="1380" y="425"/>
                    <a:pt x="1380" y="425"/>
                  </a:cubicBezTo>
                  <a:lnTo>
                    <a:pt x="1385" y="425"/>
                  </a:lnTo>
                  <a:close/>
                  <a:moveTo>
                    <a:pt x="1385" y="425"/>
                  </a:moveTo>
                  <a:cubicBezTo>
                    <a:pt x="1385" y="425"/>
                    <a:pt x="1385" y="425"/>
                    <a:pt x="1385" y="425"/>
                  </a:cubicBezTo>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fr-FR"/>
            </a:p>
          </p:txBody>
        </p:sp>
        <p:sp>
          <p:nvSpPr>
            <p:cNvPr id="55" name="Freeform 136"/>
            <p:cNvSpPr>
              <a:spLocks/>
            </p:cNvSpPr>
            <p:nvPr/>
          </p:nvSpPr>
          <p:spPr bwMode="auto">
            <a:xfrm>
              <a:off x="-5005388" y="2227263"/>
              <a:ext cx="3144838" cy="3703637"/>
            </a:xfrm>
            <a:custGeom>
              <a:avLst/>
              <a:gdLst>
                <a:gd name="T0" fmla="*/ 407 w 837"/>
                <a:gd name="T1" fmla="*/ 986 h 986"/>
                <a:gd name="T2" fmla="*/ 642 w 837"/>
                <a:gd name="T3" fmla="*/ 986 h 986"/>
                <a:gd name="T4" fmla="*/ 745 w 837"/>
                <a:gd name="T5" fmla="*/ 965 h 986"/>
                <a:gd name="T6" fmla="*/ 829 w 837"/>
                <a:gd name="T7" fmla="*/ 860 h 986"/>
                <a:gd name="T8" fmla="*/ 834 w 837"/>
                <a:gd name="T9" fmla="*/ 781 h 986"/>
                <a:gd name="T10" fmla="*/ 834 w 837"/>
                <a:gd name="T11" fmla="*/ 781 h 986"/>
                <a:gd name="T12" fmla="*/ 834 w 837"/>
                <a:gd name="T13" fmla="*/ 781 h 986"/>
                <a:gd name="T14" fmla="*/ 834 w 837"/>
                <a:gd name="T15" fmla="*/ 425 h 986"/>
                <a:gd name="T16" fmla="*/ 409 w 837"/>
                <a:gd name="T17" fmla="*/ 0 h 986"/>
                <a:gd name="T18" fmla="*/ 0 w 837"/>
                <a:gd name="T19" fmla="*/ 307 h 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37" h="986">
                  <a:moveTo>
                    <a:pt x="407" y="986"/>
                  </a:moveTo>
                  <a:cubicBezTo>
                    <a:pt x="642" y="986"/>
                    <a:pt x="642" y="986"/>
                    <a:pt x="642" y="986"/>
                  </a:cubicBezTo>
                  <a:cubicBezTo>
                    <a:pt x="678" y="986"/>
                    <a:pt x="717" y="983"/>
                    <a:pt x="745" y="965"/>
                  </a:cubicBezTo>
                  <a:cubicBezTo>
                    <a:pt x="786" y="945"/>
                    <a:pt x="819" y="916"/>
                    <a:pt x="829" y="860"/>
                  </a:cubicBezTo>
                  <a:cubicBezTo>
                    <a:pt x="834" y="845"/>
                    <a:pt x="834" y="799"/>
                    <a:pt x="834" y="781"/>
                  </a:cubicBezTo>
                  <a:cubicBezTo>
                    <a:pt x="834" y="778"/>
                    <a:pt x="834" y="783"/>
                    <a:pt x="834" y="781"/>
                  </a:cubicBezTo>
                  <a:cubicBezTo>
                    <a:pt x="834" y="778"/>
                    <a:pt x="834" y="781"/>
                    <a:pt x="834" y="781"/>
                  </a:cubicBezTo>
                  <a:cubicBezTo>
                    <a:pt x="834" y="425"/>
                    <a:pt x="834" y="425"/>
                    <a:pt x="834" y="425"/>
                  </a:cubicBezTo>
                  <a:cubicBezTo>
                    <a:pt x="837" y="192"/>
                    <a:pt x="642" y="0"/>
                    <a:pt x="409" y="0"/>
                  </a:cubicBezTo>
                  <a:cubicBezTo>
                    <a:pt x="215" y="0"/>
                    <a:pt x="51" y="131"/>
                    <a:pt x="0" y="307"/>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fr-FR"/>
            </a:p>
          </p:txBody>
        </p:sp>
        <p:sp>
          <p:nvSpPr>
            <p:cNvPr id="56" name="Freeform 137"/>
            <p:cNvSpPr>
              <a:spLocks noEditPoints="1"/>
            </p:cNvSpPr>
            <p:nvPr/>
          </p:nvSpPr>
          <p:spPr bwMode="auto">
            <a:xfrm>
              <a:off x="-6121400" y="5864225"/>
              <a:ext cx="3328988" cy="962025"/>
            </a:xfrm>
            <a:custGeom>
              <a:avLst/>
              <a:gdLst>
                <a:gd name="T0" fmla="*/ 443 w 886"/>
                <a:gd name="T1" fmla="*/ 0 h 256"/>
                <a:gd name="T2" fmla="*/ 0 w 886"/>
                <a:gd name="T3" fmla="*/ 184 h 256"/>
                <a:gd name="T4" fmla="*/ 72 w 886"/>
                <a:gd name="T5" fmla="*/ 256 h 256"/>
                <a:gd name="T6" fmla="*/ 443 w 886"/>
                <a:gd name="T7" fmla="*/ 102 h 256"/>
                <a:gd name="T8" fmla="*/ 814 w 886"/>
                <a:gd name="T9" fmla="*/ 256 h 256"/>
                <a:gd name="T10" fmla="*/ 886 w 886"/>
                <a:gd name="T11" fmla="*/ 184 h 256"/>
                <a:gd name="T12" fmla="*/ 443 w 886"/>
                <a:gd name="T13" fmla="*/ 0 h 256"/>
                <a:gd name="T14" fmla="*/ 443 w 886"/>
                <a:gd name="T15" fmla="*/ 0 h 256"/>
                <a:gd name="T16" fmla="*/ 443 w 886"/>
                <a:gd name="T17"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6" h="256">
                  <a:moveTo>
                    <a:pt x="443" y="0"/>
                  </a:moveTo>
                  <a:cubicBezTo>
                    <a:pt x="276" y="0"/>
                    <a:pt x="118" y="64"/>
                    <a:pt x="0" y="184"/>
                  </a:cubicBezTo>
                  <a:cubicBezTo>
                    <a:pt x="72" y="256"/>
                    <a:pt x="72" y="256"/>
                    <a:pt x="72" y="256"/>
                  </a:cubicBezTo>
                  <a:cubicBezTo>
                    <a:pt x="171" y="156"/>
                    <a:pt x="302" y="102"/>
                    <a:pt x="443" y="102"/>
                  </a:cubicBezTo>
                  <a:cubicBezTo>
                    <a:pt x="584" y="102"/>
                    <a:pt x="714" y="156"/>
                    <a:pt x="814" y="256"/>
                  </a:cubicBezTo>
                  <a:cubicBezTo>
                    <a:pt x="886" y="184"/>
                    <a:pt x="886" y="184"/>
                    <a:pt x="886" y="184"/>
                  </a:cubicBezTo>
                  <a:cubicBezTo>
                    <a:pt x="768" y="66"/>
                    <a:pt x="609" y="0"/>
                    <a:pt x="443" y="0"/>
                  </a:cubicBezTo>
                  <a:close/>
                  <a:moveTo>
                    <a:pt x="443" y="0"/>
                  </a:moveTo>
                  <a:cubicBezTo>
                    <a:pt x="443" y="0"/>
                    <a:pt x="443" y="0"/>
                    <a:pt x="443" y="0"/>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fr-FR"/>
            </a:p>
          </p:txBody>
        </p:sp>
        <p:sp>
          <p:nvSpPr>
            <p:cNvPr id="57" name="Freeform 138"/>
            <p:cNvSpPr>
              <a:spLocks noEditPoints="1"/>
            </p:cNvSpPr>
            <p:nvPr/>
          </p:nvSpPr>
          <p:spPr bwMode="auto">
            <a:xfrm>
              <a:off x="-5573713" y="6573838"/>
              <a:ext cx="2232025" cy="733425"/>
            </a:xfrm>
            <a:custGeom>
              <a:avLst/>
              <a:gdLst>
                <a:gd name="T0" fmla="*/ 297 w 594"/>
                <a:gd name="T1" fmla="*/ 0 h 195"/>
                <a:gd name="T2" fmla="*/ 0 w 594"/>
                <a:gd name="T3" fmla="*/ 123 h 195"/>
                <a:gd name="T4" fmla="*/ 71 w 594"/>
                <a:gd name="T5" fmla="*/ 195 h 195"/>
                <a:gd name="T6" fmla="*/ 297 w 594"/>
                <a:gd name="T7" fmla="*/ 103 h 195"/>
                <a:gd name="T8" fmla="*/ 522 w 594"/>
                <a:gd name="T9" fmla="*/ 195 h 195"/>
                <a:gd name="T10" fmla="*/ 594 w 594"/>
                <a:gd name="T11" fmla="*/ 123 h 195"/>
                <a:gd name="T12" fmla="*/ 297 w 594"/>
                <a:gd name="T13" fmla="*/ 0 h 195"/>
                <a:gd name="T14" fmla="*/ 297 w 594"/>
                <a:gd name="T15" fmla="*/ 0 h 195"/>
                <a:gd name="T16" fmla="*/ 297 w 594"/>
                <a:gd name="T17" fmla="*/ 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4" h="195">
                  <a:moveTo>
                    <a:pt x="297" y="0"/>
                  </a:moveTo>
                  <a:cubicBezTo>
                    <a:pt x="184" y="0"/>
                    <a:pt x="79" y="44"/>
                    <a:pt x="0" y="123"/>
                  </a:cubicBezTo>
                  <a:cubicBezTo>
                    <a:pt x="71" y="195"/>
                    <a:pt x="71" y="195"/>
                    <a:pt x="71" y="195"/>
                  </a:cubicBezTo>
                  <a:cubicBezTo>
                    <a:pt x="133" y="136"/>
                    <a:pt x="212" y="103"/>
                    <a:pt x="297" y="103"/>
                  </a:cubicBezTo>
                  <a:cubicBezTo>
                    <a:pt x="381" y="103"/>
                    <a:pt x="461" y="136"/>
                    <a:pt x="522" y="195"/>
                  </a:cubicBezTo>
                  <a:cubicBezTo>
                    <a:pt x="594" y="123"/>
                    <a:pt x="594" y="123"/>
                    <a:pt x="594" y="123"/>
                  </a:cubicBezTo>
                  <a:cubicBezTo>
                    <a:pt x="514" y="44"/>
                    <a:pt x="409" y="0"/>
                    <a:pt x="297" y="0"/>
                  </a:cubicBezTo>
                  <a:close/>
                  <a:moveTo>
                    <a:pt x="297" y="0"/>
                  </a:moveTo>
                  <a:cubicBezTo>
                    <a:pt x="297" y="0"/>
                    <a:pt x="297" y="0"/>
                    <a:pt x="297" y="0"/>
                  </a:cubicBezTo>
                </a:path>
              </a:pathLst>
            </a:custGeom>
            <a:solidFill>
              <a:srgbClr val="0AA0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8" name="Freeform 139"/>
            <p:cNvSpPr>
              <a:spLocks noEditPoints="1"/>
            </p:cNvSpPr>
            <p:nvPr/>
          </p:nvSpPr>
          <p:spPr bwMode="auto">
            <a:xfrm>
              <a:off x="-5043488" y="7288213"/>
              <a:ext cx="1173163" cy="506412"/>
            </a:xfrm>
            <a:custGeom>
              <a:avLst/>
              <a:gdLst>
                <a:gd name="T0" fmla="*/ 0 w 312"/>
                <a:gd name="T1" fmla="*/ 64 h 135"/>
                <a:gd name="T2" fmla="*/ 71 w 312"/>
                <a:gd name="T3" fmla="*/ 135 h 135"/>
                <a:gd name="T4" fmla="*/ 156 w 312"/>
                <a:gd name="T5" fmla="*/ 99 h 135"/>
                <a:gd name="T6" fmla="*/ 240 w 312"/>
                <a:gd name="T7" fmla="*/ 135 h 135"/>
                <a:gd name="T8" fmla="*/ 312 w 312"/>
                <a:gd name="T9" fmla="*/ 64 h 135"/>
                <a:gd name="T10" fmla="*/ 156 w 312"/>
                <a:gd name="T11" fmla="*/ 0 h 135"/>
                <a:gd name="T12" fmla="*/ 0 w 312"/>
                <a:gd name="T13" fmla="*/ 64 h 135"/>
                <a:gd name="T14" fmla="*/ 0 w 312"/>
                <a:gd name="T15" fmla="*/ 64 h 135"/>
                <a:gd name="T16" fmla="*/ 0 w 312"/>
                <a:gd name="T17" fmla="*/ 64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2" h="135">
                  <a:moveTo>
                    <a:pt x="0" y="64"/>
                  </a:moveTo>
                  <a:cubicBezTo>
                    <a:pt x="71" y="135"/>
                    <a:pt x="71" y="135"/>
                    <a:pt x="71" y="135"/>
                  </a:cubicBezTo>
                  <a:cubicBezTo>
                    <a:pt x="94" y="112"/>
                    <a:pt x="122" y="99"/>
                    <a:pt x="156" y="99"/>
                  </a:cubicBezTo>
                  <a:cubicBezTo>
                    <a:pt x="186" y="99"/>
                    <a:pt x="217" y="112"/>
                    <a:pt x="240" y="135"/>
                  </a:cubicBezTo>
                  <a:cubicBezTo>
                    <a:pt x="312" y="64"/>
                    <a:pt x="312" y="64"/>
                    <a:pt x="312" y="64"/>
                  </a:cubicBezTo>
                  <a:cubicBezTo>
                    <a:pt x="271" y="23"/>
                    <a:pt x="215" y="0"/>
                    <a:pt x="156" y="0"/>
                  </a:cubicBezTo>
                  <a:cubicBezTo>
                    <a:pt x="97" y="0"/>
                    <a:pt x="41" y="23"/>
                    <a:pt x="0" y="64"/>
                  </a:cubicBezTo>
                  <a:close/>
                  <a:moveTo>
                    <a:pt x="0" y="64"/>
                  </a:moveTo>
                  <a:cubicBezTo>
                    <a:pt x="0" y="64"/>
                    <a:pt x="0" y="64"/>
                    <a:pt x="0" y="64"/>
                  </a:cubicBezTo>
                </a:path>
              </a:pathLst>
            </a:custGeom>
            <a:solidFill>
              <a:srgbClr val="0AA0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9" name="Freeform 140"/>
            <p:cNvSpPr>
              <a:spLocks noEditPoints="1"/>
            </p:cNvSpPr>
            <p:nvPr/>
          </p:nvSpPr>
          <p:spPr bwMode="auto">
            <a:xfrm>
              <a:off x="-4641850" y="7923213"/>
              <a:ext cx="365125" cy="363537"/>
            </a:xfrm>
            <a:custGeom>
              <a:avLst/>
              <a:gdLst>
                <a:gd name="T0" fmla="*/ 97 w 97"/>
                <a:gd name="T1" fmla="*/ 48 h 97"/>
                <a:gd name="T2" fmla="*/ 49 w 97"/>
                <a:gd name="T3" fmla="*/ 97 h 97"/>
                <a:gd name="T4" fmla="*/ 0 w 97"/>
                <a:gd name="T5" fmla="*/ 48 h 97"/>
                <a:gd name="T6" fmla="*/ 49 w 97"/>
                <a:gd name="T7" fmla="*/ 0 h 97"/>
                <a:gd name="T8" fmla="*/ 97 w 97"/>
                <a:gd name="T9" fmla="*/ 48 h 97"/>
                <a:gd name="T10" fmla="*/ 97 w 97"/>
                <a:gd name="T11" fmla="*/ 48 h 97"/>
                <a:gd name="T12" fmla="*/ 97 w 97"/>
                <a:gd name="T13" fmla="*/ 48 h 97"/>
              </a:gdLst>
              <a:ahLst/>
              <a:cxnLst>
                <a:cxn ang="0">
                  <a:pos x="T0" y="T1"/>
                </a:cxn>
                <a:cxn ang="0">
                  <a:pos x="T2" y="T3"/>
                </a:cxn>
                <a:cxn ang="0">
                  <a:pos x="T4" y="T5"/>
                </a:cxn>
                <a:cxn ang="0">
                  <a:pos x="T6" y="T7"/>
                </a:cxn>
                <a:cxn ang="0">
                  <a:pos x="T8" y="T9"/>
                </a:cxn>
                <a:cxn ang="0">
                  <a:pos x="T10" y="T11"/>
                </a:cxn>
                <a:cxn ang="0">
                  <a:pos x="T12" y="T13"/>
                </a:cxn>
              </a:cxnLst>
              <a:rect l="0" t="0" r="r" b="b"/>
              <a:pathLst>
                <a:path w="97" h="97">
                  <a:moveTo>
                    <a:pt x="97" y="48"/>
                  </a:moveTo>
                  <a:cubicBezTo>
                    <a:pt x="97" y="75"/>
                    <a:pt x="76" y="97"/>
                    <a:pt x="49" y="97"/>
                  </a:cubicBezTo>
                  <a:cubicBezTo>
                    <a:pt x="22" y="97"/>
                    <a:pt x="0" y="75"/>
                    <a:pt x="0" y="48"/>
                  </a:cubicBezTo>
                  <a:cubicBezTo>
                    <a:pt x="0" y="21"/>
                    <a:pt x="22" y="0"/>
                    <a:pt x="49" y="0"/>
                  </a:cubicBezTo>
                  <a:cubicBezTo>
                    <a:pt x="76" y="0"/>
                    <a:pt x="97" y="21"/>
                    <a:pt x="97" y="48"/>
                  </a:cubicBezTo>
                  <a:close/>
                  <a:moveTo>
                    <a:pt x="97" y="48"/>
                  </a:moveTo>
                  <a:cubicBezTo>
                    <a:pt x="97" y="48"/>
                    <a:pt x="97" y="48"/>
                    <a:pt x="97" y="48"/>
                  </a:cubicBezTo>
                </a:path>
              </a:pathLst>
            </a:custGeom>
            <a:solidFill>
              <a:srgbClr val="0AA0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60" name="Freeform 141"/>
            <p:cNvSpPr>
              <a:spLocks/>
            </p:cNvSpPr>
            <p:nvPr/>
          </p:nvSpPr>
          <p:spPr bwMode="auto">
            <a:xfrm>
              <a:off x="-4457700" y="5864225"/>
              <a:ext cx="1665288" cy="962025"/>
            </a:xfrm>
            <a:custGeom>
              <a:avLst/>
              <a:gdLst>
                <a:gd name="T0" fmla="*/ 0 w 443"/>
                <a:gd name="T1" fmla="*/ 102 h 256"/>
                <a:gd name="T2" fmla="*/ 371 w 443"/>
                <a:gd name="T3" fmla="*/ 256 h 256"/>
                <a:gd name="T4" fmla="*/ 443 w 443"/>
                <a:gd name="T5" fmla="*/ 184 h 256"/>
                <a:gd name="T6" fmla="*/ 0 w 443"/>
                <a:gd name="T7" fmla="*/ 0 h 256"/>
              </a:gdLst>
              <a:ahLst/>
              <a:cxnLst>
                <a:cxn ang="0">
                  <a:pos x="T0" y="T1"/>
                </a:cxn>
                <a:cxn ang="0">
                  <a:pos x="T2" y="T3"/>
                </a:cxn>
                <a:cxn ang="0">
                  <a:pos x="T4" y="T5"/>
                </a:cxn>
                <a:cxn ang="0">
                  <a:pos x="T6" y="T7"/>
                </a:cxn>
              </a:cxnLst>
              <a:rect l="0" t="0" r="r" b="b"/>
              <a:pathLst>
                <a:path w="443" h="256">
                  <a:moveTo>
                    <a:pt x="0" y="102"/>
                  </a:moveTo>
                  <a:cubicBezTo>
                    <a:pt x="141" y="102"/>
                    <a:pt x="271" y="156"/>
                    <a:pt x="371" y="256"/>
                  </a:cubicBezTo>
                  <a:cubicBezTo>
                    <a:pt x="443" y="184"/>
                    <a:pt x="443" y="184"/>
                    <a:pt x="443" y="184"/>
                  </a:cubicBezTo>
                  <a:cubicBezTo>
                    <a:pt x="325" y="66"/>
                    <a:pt x="166" y="0"/>
                    <a:pt x="0" y="0"/>
                  </a:cubicBezTo>
                </a:path>
              </a:pathLst>
            </a:custGeom>
            <a:solidFill>
              <a:schemeClr val="accent5">
                <a:lumMod val="75000"/>
              </a:schemeClr>
            </a:solidFill>
            <a:ln>
              <a:noFill/>
            </a:ln>
          </p:spPr>
          <p:txBody>
            <a:bodyPr vert="horz" wrap="square" lIns="91440" tIns="45720" rIns="91440" bIns="45720" numCol="1" anchor="t" anchorCtr="0" compatLnSpc="1">
              <a:prstTxWarp prst="textNoShape">
                <a:avLst/>
              </a:prstTxWarp>
            </a:bodyPr>
            <a:lstStyle/>
            <a:p>
              <a:endParaRPr lang="fr-FR"/>
            </a:p>
          </p:txBody>
        </p:sp>
        <p:sp>
          <p:nvSpPr>
            <p:cNvPr id="61" name="Freeform 142"/>
            <p:cNvSpPr>
              <a:spLocks noEditPoints="1"/>
            </p:cNvSpPr>
            <p:nvPr/>
          </p:nvSpPr>
          <p:spPr bwMode="auto">
            <a:xfrm>
              <a:off x="-5573713" y="6573838"/>
              <a:ext cx="2232025" cy="733425"/>
            </a:xfrm>
            <a:custGeom>
              <a:avLst/>
              <a:gdLst>
                <a:gd name="T0" fmla="*/ 297 w 594"/>
                <a:gd name="T1" fmla="*/ 0 h 195"/>
                <a:gd name="T2" fmla="*/ 0 w 594"/>
                <a:gd name="T3" fmla="*/ 123 h 195"/>
                <a:gd name="T4" fmla="*/ 71 w 594"/>
                <a:gd name="T5" fmla="*/ 195 h 195"/>
                <a:gd name="T6" fmla="*/ 297 w 594"/>
                <a:gd name="T7" fmla="*/ 103 h 195"/>
                <a:gd name="T8" fmla="*/ 522 w 594"/>
                <a:gd name="T9" fmla="*/ 195 h 195"/>
                <a:gd name="T10" fmla="*/ 594 w 594"/>
                <a:gd name="T11" fmla="*/ 123 h 195"/>
                <a:gd name="T12" fmla="*/ 297 w 594"/>
                <a:gd name="T13" fmla="*/ 0 h 195"/>
                <a:gd name="T14" fmla="*/ 297 w 594"/>
                <a:gd name="T15" fmla="*/ 0 h 195"/>
                <a:gd name="T16" fmla="*/ 297 w 594"/>
                <a:gd name="T17" fmla="*/ 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4" h="195">
                  <a:moveTo>
                    <a:pt x="297" y="0"/>
                  </a:moveTo>
                  <a:cubicBezTo>
                    <a:pt x="184" y="0"/>
                    <a:pt x="79" y="44"/>
                    <a:pt x="0" y="123"/>
                  </a:cubicBezTo>
                  <a:cubicBezTo>
                    <a:pt x="71" y="195"/>
                    <a:pt x="71" y="195"/>
                    <a:pt x="71" y="195"/>
                  </a:cubicBezTo>
                  <a:cubicBezTo>
                    <a:pt x="133" y="136"/>
                    <a:pt x="212" y="103"/>
                    <a:pt x="297" y="103"/>
                  </a:cubicBezTo>
                  <a:cubicBezTo>
                    <a:pt x="381" y="103"/>
                    <a:pt x="461" y="136"/>
                    <a:pt x="522" y="195"/>
                  </a:cubicBezTo>
                  <a:cubicBezTo>
                    <a:pt x="594" y="123"/>
                    <a:pt x="594" y="123"/>
                    <a:pt x="594" y="123"/>
                  </a:cubicBezTo>
                  <a:cubicBezTo>
                    <a:pt x="514" y="44"/>
                    <a:pt x="409" y="0"/>
                    <a:pt x="297" y="0"/>
                  </a:cubicBezTo>
                  <a:close/>
                  <a:moveTo>
                    <a:pt x="297" y="0"/>
                  </a:moveTo>
                  <a:cubicBezTo>
                    <a:pt x="297" y="0"/>
                    <a:pt x="297" y="0"/>
                    <a:pt x="297" y="0"/>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fr-FR"/>
            </a:p>
          </p:txBody>
        </p:sp>
        <p:sp>
          <p:nvSpPr>
            <p:cNvPr id="62" name="Freeform 143"/>
            <p:cNvSpPr>
              <a:spLocks/>
            </p:cNvSpPr>
            <p:nvPr/>
          </p:nvSpPr>
          <p:spPr bwMode="auto">
            <a:xfrm>
              <a:off x="-4457700" y="6573838"/>
              <a:ext cx="1116013" cy="733425"/>
            </a:xfrm>
            <a:custGeom>
              <a:avLst/>
              <a:gdLst>
                <a:gd name="T0" fmla="*/ 0 w 297"/>
                <a:gd name="T1" fmla="*/ 103 h 195"/>
                <a:gd name="T2" fmla="*/ 225 w 297"/>
                <a:gd name="T3" fmla="*/ 195 h 195"/>
                <a:gd name="T4" fmla="*/ 297 w 297"/>
                <a:gd name="T5" fmla="*/ 123 h 195"/>
                <a:gd name="T6" fmla="*/ 0 w 297"/>
                <a:gd name="T7" fmla="*/ 0 h 195"/>
              </a:gdLst>
              <a:ahLst/>
              <a:cxnLst>
                <a:cxn ang="0">
                  <a:pos x="T0" y="T1"/>
                </a:cxn>
                <a:cxn ang="0">
                  <a:pos x="T2" y="T3"/>
                </a:cxn>
                <a:cxn ang="0">
                  <a:pos x="T4" y="T5"/>
                </a:cxn>
                <a:cxn ang="0">
                  <a:pos x="T6" y="T7"/>
                </a:cxn>
              </a:cxnLst>
              <a:rect l="0" t="0" r="r" b="b"/>
              <a:pathLst>
                <a:path w="297" h="195">
                  <a:moveTo>
                    <a:pt x="0" y="103"/>
                  </a:moveTo>
                  <a:cubicBezTo>
                    <a:pt x="84" y="103"/>
                    <a:pt x="164" y="136"/>
                    <a:pt x="225" y="195"/>
                  </a:cubicBezTo>
                  <a:cubicBezTo>
                    <a:pt x="297" y="123"/>
                    <a:pt x="297" y="123"/>
                    <a:pt x="297" y="123"/>
                  </a:cubicBezTo>
                  <a:cubicBezTo>
                    <a:pt x="217" y="44"/>
                    <a:pt x="112" y="0"/>
                    <a:pt x="0" y="0"/>
                  </a:cubicBezTo>
                </a:path>
              </a:pathLst>
            </a:custGeom>
            <a:solidFill>
              <a:schemeClr val="accent5">
                <a:lumMod val="75000"/>
              </a:schemeClr>
            </a:solidFill>
            <a:ln>
              <a:noFill/>
            </a:ln>
          </p:spPr>
          <p:txBody>
            <a:bodyPr vert="horz" wrap="square" lIns="91440" tIns="45720" rIns="91440" bIns="45720" numCol="1" anchor="t" anchorCtr="0" compatLnSpc="1">
              <a:prstTxWarp prst="textNoShape">
                <a:avLst/>
              </a:prstTxWarp>
            </a:bodyPr>
            <a:lstStyle/>
            <a:p>
              <a:endParaRPr lang="fr-FR"/>
            </a:p>
          </p:txBody>
        </p:sp>
        <p:sp>
          <p:nvSpPr>
            <p:cNvPr id="63" name="Freeform 144"/>
            <p:cNvSpPr>
              <a:spLocks noEditPoints="1"/>
            </p:cNvSpPr>
            <p:nvPr/>
          </p:nvSpPr>
          <p:spPr bwMode="auto">
            <a:xfrm>
              <a:off x="-5043488" y="7288213"/>
              <a:ext cx="1173163" cy="506412"/>
            </a:xfrm>
            <a:custGeom>
              <a:avLst/>
              <a:gdLst>
                <a:gd name="T0" fmla="*/ 0 w 312"/>
                <a:gd name="T1" fmla="*/ 64 h 135"/>
                <a:gd name="T2" fmla="*/ 71 w 312"/>
                <a:gd name="T3" fmla="*/ 135 h 135"/>
                <a:gd name="T4" fmla="*/ 156 w 312"/>
                <a:gd name="T5" fmla="*/ 99 h 135"/>
                <a:gd name="T6" fmla="*/ 240 w 312"/>
                <a:gd name="T7" fmla="*/ 135 h 135"/>
                <a:gd name="T8" fmla="*/ 312 w 312"/>
                <a:gd name="T9" fmla="*/ 64 h 135"/>
                <a:gd name="T10" fmla="*/ 156 w 312"/>
                <a:gd name="T11" fmla="*/ 0 h 135"/>
                <a:gd name="T12" fmla="*/ 0 w 312"/>
                <a:gd name="T13" fmla="*/ 64 h 135"/>
                <a:gd name="T14" fmla="*/ 0 w 312"/>
                <a:gd name="T15" fmla="*/ 64 h 135"/>
                <a:gd name="T16" fmla="*/ 0 w 312"/>
                <a:gd name="T17" fmla="*/ 64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2" h="135">
                  <a:moveTo>
                    <a:pt x="0" y="64"/>
                  </a:moveTo>
                  <a:cubicBezTo>
                    <a:pt x="71" y="135"/>
                    <a:pt x="71" y="135"/>
                    <a:pt x="71" y="135"/>
                  </a:cubicBezTo>
                  <a:cubicBezTo>
                    <a:pt x="94" y="112"/>
                    <a:pt x="122" y="99"/>
                    <a:pt x="156" y="99"/>
                  </a:cubicBezTo>
                  <a:cubicBezTo>
                    <a:pt x="186" y="99"/>
                    <a:pt x="217" y="112"/>
                    <a:pt x="240" y="135"/>
                  </a:cubicBezTo>
                  <a:cubicBezTo>
                    <a:pt x="312" y="64"/>
                    <a:pt x="312" y="64"/>
                    <a:pt x="312" y="64"/>
                  </a:cubicBezTo>
                  <a:cubicBezTo>
                    <a:pt x="271" y="23"/>
                    <a:pt x="215" y="0"/>
                    <a:pt x="156" y="0"/>
                  </a:cubicBezTo>
                  <a:cubicBezTo>
                    <a:pt x="97" y="0"/>
                    <a:pt x="41" y="23"/>
                    <a:pt x="0" y="64"/>
                  </a:cubicBezTo>
                  <a:close/>
                  <a:moveTo>
                    <a:pt x="0" y="64"/>
                  </a:moveTo>
                  <a:cubicBezTo>
                    <a:pt x="0" y="64"/>
                    <a:pt x="0" y="64"/>
                    <a:pt x="0" y="64"/>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fr-FR"/>
            </a:p>
          </p:txBody>
        </p:sp>
        <p:sp>
          <p:nvSpPr>
            <p:cNvPr id="64" name="Freeform 145"/>
            <p:cNvSpPr>
              <a:spLocks/>
            </p:cNvSpPr>
            <p:nvPr/>
          </p:nvSpPr>
          <p:spPr bwMode="auto">
            <a:xfrm>
              <a:off x="-4457700" y="7296150"/>
              <a:ext cx="587375" cy="509587"/>
            </a:xfrm>
            <a:custGeom>
              <a:avLst/>
              <a:gdLst>
                <a:gd name="T0" fmla="*/ 0 w 156"/>
                <a:gd name="T1" fmla="*/ 100 h 136"/>
                <a:gd name="T2" fmla="*/ 84 w 156"/>
                <a:gd name="T3" fmla="*/ 136 h 136"/>
                <a:gd name="T4" fmla="*/ 156 w 156"/>
                <a:gd name="T5" fmla="*/ 64 h 136"/>
                <a:gd name="T6" fmla="*/ 0 w 156"/>
                <a:gd name="T7" fmla="*/ 0 h 136"/>
              </a:gdLst>
              <a:ahLst/>
              <a:cxnLst>
                <a:cxn ang="0">
                  <a:pos x="T0" y="T1"/>
                </a:cxn>
                <a:cxn ang="0">
                  <a:pos x="T2" y="T3"/>
                </a:cxn>
                <a:cxn ang="0">
                  <a:pos x="T4" y="T5"/>
                </a:cxn>
                <a:cxn ang="0">
                  <a:pos x="T6" y="T7"/>
                </a:cxn>
              </a:cxnLst>
              <a:rect l="0" t="0" r="r" b="b"/>
              <a:pathLst>
                <a:path w="156" h="136">
                  <a:moveTo>
                    <a:pt x="0" y="100"/>
                  </a:moveTo>
                  <a:cubicBezTo>
                    <a:pt x="30" y="100"/>
                    <a:pt x="61" y="113"/>
                    <a:pt x="84" y="136"/>
                  </a:cubicBezTo>
                  <a:cubicBezTo>
                    <a:pt x="156" y="64"/>
                    <a:pt x="156" y="64"/>
                    <a:pt x="156" y="64"/>
                  </a:cubicBezTo>
                  <a:cubicBezTo>
                    <a:pt x="115" y="23"/>
                    <a:pt x="59" y="0"/>
                    <a:pt x="0" y="0"/>
                  </a:cubicBezTo>
                </a:path>
              </a:pathLst>
            </a:custGeom>
            <a:solidFill>
              <a:schemeClr val="accent5">
                <a:lumMod val="75000"/>
              </a:schemeClr>
            </a:solidFill>
            <a:ln>
              <a:noFill/>
            </a:ln>
          </p:spPr>
          <p:txBody>
            <a:bodyPr vert="horz" wrap="square" lIns="91440" tIns="45720" rIns="91440" bIns="45720" numCol="1" anchor="t" anchorCtr="0" compatLnSpc="1">
              <a:prstTxWarp prst="textNoShape">
                <a:avLst/>
              </a:prstTxWarp>
            </a:bodyPr>
            <a:lstStyle/>
            <a:p>
              <a:endParaRPr lang="fr-FR"/>
            </a:p>
          </p:txBody>
        </p:sp>
        <p:sp>
          <p:nvSpPr>
            <p:cNvPr id="65" name="Freeform 146"/>
            <p:cNvSpPr>
              <a:spLocks noEditPoints="1"/>
            </p:cNvSpPr>
            <p:nvPr/>
          </p:nvSpPr>
          <p:spPr bwMode="auto">
            <a:xfrm>
              <a:off x="-4641850" y="7923213"/>
              <a:ext cx="365125" cy="363537"/>
            </a:xfrm>
            <a:custGeom>
              <a:avLst/>
              <a:gdLst>
                <a:gd name="T0" fmla="*/ 97 w 97"/>
                <a:gd name="T1" fmla="*/ 48 h 97"/>
                <a:gd name="T2" fmla="*/ 49 w 97"/>
                <a:gd name="T3" fmla="*/ 97 h 97"/>
                <a:gd name="T4" fmla="*/ 0 w 97"/>
                <a:gd name="T5" fmla="*/ 48 h 97"/>
                <a:gd name="T6" fmla="*/ 49 w 97"/>
                <a:gd name="T7" fmla="*/ 0 h 97"/>
                <a:gd name="T8" fmla="*/ 97 w 97"/>
                <a:gd name="T9" fmla="*/ 48 h 97"/>
                <a:gd name="T10" fmla="*/ 97 w 97"/>
                <a:gd name="T11" fmla="*/ 48 h 97"/>
                <a:gd name="T12" fmla="*/ 97 w 97"/>
                <a:gd name="T13" fmla="*/ 48 h 97"/>
              </a:gdLst>
              <a:ahLst/>
              <a:cxnLst>
                <a:cxn ang="0">
                  <a:pos x="T0" y="T1"/>
                </a:cxn>
                <a:cxn ang="0">
                  <a:pos x="T2" y="T3"/>
                </a:cxn>
                <a:cxn ang="0">
                  <a:pos x="T4" y="T5"/>
                </a:cxn>
                <a:cxn ang="0">
                  <a:pos x="T6" y="T7"/>
                </a:cxn>
                <a:cxn ang="0">
                  <a:pos x="T8" y="T9"/>
                </a:cxn>
                <a:cxn ang="0">
                  <a:pos x="T10" y="T11"/>
                </a:cxn>
                <a:cxn ang="0">
                  <a:pos x="T12" y="T13"/>
                </a:cxn>
              </a:cxnLst>
              <a:rect l="0" t="0" r="r" b="b"/>
              <a:pathLst>
                <a:path w="97" h="97">
                  <a:moveTo>
                    <a:pt x="97" y="48"/>
                  </a:moveTo>
                  <a:cubicBezTo>
                    <a:pt x="97" y="75"/>
                    <a:pt x="76" y="97"/>
                    <a:pt x="49" y="97"/>
                  </a:cubicBezTo>
                  <a:cubicBezTo>
                    <a:pt x="22" y="97"/>
                    <a:pt x="0" y="75"/>
                    <a:pt x="0" y="48"/>
                  </a:cubicBezTo>
                  <a:cubicBezTo>
                    <a:pt x="0" y="21"/>
                    <a:pt x="22" y="0"/>
                    <a:pt x="49" y="0"/>
                  </a:cubicBezTo>
                  <a:cubicBezTo>
                    <a:pt x="76" y="0"/>
                    <a:pt x="97" y="21"/>
                    <a:pt x="97" y="48"/>
                  </a:cubicBezTo>
                  <a:close/>
                  <a:moveTo>
                    <a:pt x="97" y="48"/>
                  </a:moveTo>
                  <a:cubicBezTo>
                    <a:pt x="97" y="48"/>
                    <a:pt x="97" y="48"/>
                    <a:pt x="97" y="48"/>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fr-FR"/>
            </a:p>
          </p:txBody>
        </p:sp>
        <p:sp>
          <p:nvSpPr>
            <p:cNvPr id="66" name="Freeform 147"/>
            <p:cNvSpPr>
              <a:spLocks/>
            </p:cNvSpPr>
            <p:nvPr/>
          </p:nvSpPr>
          <p:spPr bwMode="auto">
            <a:xfrm>
              <a:off x="-4457700" y="7923213"/>
              <a:ext cx="180975" cy="363537"/>
            </a:xfrm>
            <a:custGeom>
              <a:avLst/>
              <a:gdLst>
                <a:gd name="T0" fmla="*/ 0 w 48"/>
                <a:gd name="T1" fmla="*/ 97 h 97"/>
                <a:gd name="T2" fmla="*/ 48 w 48"/>
                <a:gd name="T3" fmla="*/ 48 h 97"/>
                <a:gd name="T4" fmla="*/ 0 w 48"/>
                <a:gd name="T5" fmla="*/ 0 h 97"/>
              </a:gdLst>
              <a:ahLst/>
              <a:cxnLst>
                <a:cxn ang="0">
                  <a:pos x="T0" y="T1"/>
                </a:cxn>
                <a:cxn ang="0">
                  <a:pos x="T2" y="T3"/>
                </a:cxn>
                <a:cxn ang="0">
                  <a:pos x="T4" y="T5"/>
                </a:cxn>
              </a:cxnLst>
              <a:rect l="0" t="0" r="r" b="b"/>
              <a:pathLst>
                <a:path w="48" h="97">
                  <a:moveTo>
                    <a:pt x="0" y="97"/>
                  </a:moveTo>
                  <a:cubicBezTo>
                    <a:pt x="25" y="97"/>
                    <a:pt x="48" y="76"/>
                    <a:pt x="48" y="48"/>
                  </a:cubicBezTo>
                  <a:cubicBezTo>
                    <a:pt x="48" y="23"/>
                    <a:pt x="28" y="0"/>
                    <a:pt x="0" y="0"/>
                  </a:cubicBezTo>
                </a:path>
              </a:pathLst>
            </a:custGeom>
            <a:solidFill>
              <a:schemeClr val="accent5">
                <a:lumMod val="75000"/>
              </a:schemeClr>
            </a:solidFill>
            <a:ln>
              <a:noFill/>
            </a:ln>
          </p:spPr>
          <p:txBody>
            <a:bodyPr vert="horz" wrap="square" lIns="91440" tIns="45720" rIns="91440" bIns="45720" numCol="1" anchor="t" anchorCtr="0" compatLnSpc="1">
              <a:prstTxWarp prst="textNoShape">
                <a:avLst/>
              </a:prstTxWarp>
            </a:bodyPr>
            <a:lstStyle/>
            <a:p>
              <a:endParaRPr lang="fr-FR"/>
            </a:p>
          </p:txBody>
        </p:sp>
      </p:grpSp>
      <p:grpSp>
        <p:nvGrpSpPr>
          <p:cNvPr id="67" name="Group 66"/>
          <p:cNvGrpSpPr/>
          <p:nvPr userDrawn="1"/>
        </p:nvGrpSpPr>
        <p:grpSpPr>
          <a:xfrm>
            <a:off x="11496000" y="2565000"/>
            <a:ext cx="400353" cy="263633"/>
            <a:chOff x="-8465638" y="-76430"/>
            <a:chExt cx="5508625" cy="3627437"/>
          </a:xfrm>
        </p:grpSpPr>
        <p:sp>
          <p:nvSpPr>
            <p:cNvPr id="68" name="Freeform 5"/>
            <p:cNvSpPr>
              <a:spLocks/>
            </p:cNvSpPr>
            <p:nvPr/>
          </p:nvSpPr>
          <p:spPr bwMode="auto">
            <a:xfrm>
              <a:off x="-8465638" y="-76430"/>
              <a:ext cx="5365750" cy="3627437"/>
            </a:xfrm>
            <a:custGeom>
              <a:avLst/>
              <a:gdLst>
                <a:gd name="T0" fmla="*/ 1068 w 1428"/>
                <a:gd name="T1" fmla="*/ 965 h 965"/>
                <a:gd name="T2" fmla="*/ 1428 w 1428"/>
                <a:gd name="T3" fmla="*/ 605 h 965"/>
                <a:gd name="T4" fmla="*/ 1106 w 1428"/>
                <a:gd name="T5" fmla="*/ 248 h 965"/>
                <a:gd name="T6" fmla="*/ 731 w 1428"/>
                <a:gd name="T7" fmla="*/ 0 h 965"/>
                <a:gd name="T8" fmla="*/ 325 w 1428"/>
                <a:gd name="T9" fmla="*/ 372 h 965"/>
                <a:gd name="T10" fmla="*/ 297 w 1428"/>
                <a:gd name="T11" fmla="*/ 371 h 965"/>
                <a:gd name="T12" fmla="*/ 0 w 1428"/>
                <a:gd name="T13" fmla="*/ 668 h 965"/>
                <a:gd name="T14" fmla="*/ 297 w 1428"/>
                <a:gd name="T15" fmla="*/ 965 h 965"/>
                <a:gd name="T16" fmla="*/ 1068 w 1428"/>
                <a:gd name="T17" fmla="*/ 965 h 9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28" h="965">
                  <a:moveTo>
                    <a:pt x="1068" y="965"/>
                  </a:moveTo>
                  <a:cubicBezTo>
                    <a:pt x="1267" y="965"/>
                    <a:pt x="1428" y="804"/>
                    <a:pt x="1428" y="605"/>
                  </a:cubicBezTo>
                  <a:cubicBezTo>
                    <a:pt x="1428" y="420"/>
                    <a:pt x="1287" y="267"/>
                    <a:pt x="1106" y="248"/>
                  </a:cubicBezTo>
                  <a:cubicBezTo>
                    <a:pt x="1044" y="102"/>
                    <a:pt x="899" y="0"/>
                    <a:pt x="731" y="0"/>
                  </a:cubicBezTo>
                  <a:cubicBezTo>
                    <a:pt x="518" y="0"/>
                    <a:pt x="343" y="164"/>
                    <a:pt x="325" y="372"/>
                  </a:cubicBezTo>
                  <a:cubicBezTo>
                    <a:pt x="316" y="371"/>
                    <a:pt x="306" y="371"/>
                    <a:pt x="297" y="371"/>
                  </a:cubicBezTo>
                  <a:cubicBezTo>
                    <a:pt x="133" y="371"/>
                    <a:pt x="0" y="504"/>
                    <a:pt x="0" y="668"/>
                  </a:cubicBezTo>
                  <a:cubicBezTo>
                    <a:pt x="0" y="832"/>
                    <a:pt x="133" y="965"/>
                    <a:pt x="297" y="965"/>
                  </a:cubicBezTo>
                  <a:cubicBezTo>
                    <a:pt x="1068" y="965"/>
                    <a:pt x="1068" y="965"/>
                    <a:pt x="1068" y="965"/>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fr-FR"/>
            </a:p>
          </p:txBody>
        </p:sp>
        <p:sp>
          <p:nvSpPr>
            <p:cNvPr id="69" name="Rectangle 6"/>
            <p:cNvSpPr>
              <a:spLocks noChangeArrowheads="1"/>
            </p:cNvSpPr>
            <p:nvPr/>
          </p:nvSpPr>
          <p:spPr bwMode="auto">
            <a:xfrm>
              <a:off x="-6214563" y="1305724"/>
              <a:ext cx="3257550" cy="827087"/>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endParaRPr lang="fr-FR"/>
            </a:p>
          </p:txBody>
        </p:sp>
        <p:sp>
          <p:nvSpPr>
            <p:cNvPr id="70" name="Rectangle 7"/>
            <p:cNvSpPr>
              <a:spLocks noChangeArrowheads="1"/>
            </p:cNvSpPr>
            <p:nvPr/>
          </p:nvSpPr>
          <p:spPr bwMode="auto">
            <a:xfrm>
              <a:off x="-3539626" y="1569249"/>
              <a:ext cx="303213" cy="301625"/>
            </a:xfrm>
            <a:prstGeom prst="rect">
              <a:avLst/>
            </a:prstGeom>
            <a:solidFill>
              <a:schemeClr val="accent5"/>
            </a:solidFill>
            <a:ln>
              <a:noFill/>
            </a:ln>
          </p:spPr>
          <p:txBody>
            <a:bodyPr vert="horz" wrap="square" lIns="91440" tIns="45720" rIns="91440" bIns="45720" numCol="1" anchor="t" anchorCtr="0" compatLnSpc="1">
              <a:prstTxWarp prst="textNoShape">
                <a:avLst/>
              </a:prstTxWarp>
            </a:bodyPr>
            <a:lstStyle/>
            <a:p>
              <a:endParaRPr lang="fr-FR"/>
            </a:p>
          </p:txBody>
        </p:sp>
        <p:sp>
          <p:nvSpPr>
            <p:cNvPr id="71" name="Rectangle 8"/>
            <p:cNvSpPr>
              <a:spLocks noChangeArrowheads="1"/>
            </p:cNvSpPr>
            <p:nvPr/>
          </p:nvSpPr>
          <p:spPr bwMode="auto">
            <a:xfrm>
              <a:off x="-3957138" y="1569249"/>
              <a:ext cx="300038" cy="301625"/>
            </a:xfrm>
            <a:prstGeom prst="rect">
              <a:avLst/>
            </a:prstGeom>
            <a:solidFill>
              <a:schemeClr val="accent5"/>
            </a:solidFill>
            <a:ln>
              <a:noFill/>
            </a:ln>
          </p:spPr>
          <p:txBody>
            <a:bodyPr vert="horz" wrap="square" lIns="91440" tIns="45720" rIns="91440" bIns="45720" numCol="1" anchor="t" anchorCtr="0" compatLnSpc="1">
              <a:prstTxWarp prst="textNoShape">
                <a:avLst/>
              </a:prstTxWarp>
            </a:bodyPr>
            <a:lstStyle/>
            <a:p>
              <a:endParaRPr lang="fr-FR"/>
            </a:p>
          </p:txBody>
        </p:sp>
        <p:sp>
          <p:nvSpPr>
            <p:cNvPr id="72" name="Rectangle 9"/>
            <p:cNvSpPr>
              <a:spLocks noChangeArrowheads="1"/>
            </p:cNvSpPr>
            <p:nvPr/>
          </p:nvSpPr>
          <p:spPr bwMode="auto">
            <a:xfrm>
              <a:off x="-6214563" y="2297912"/>
              <a:ext cx="3257550" cy="828675"/>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endParaRPr lang="fr-FR"/>
            </a:p>
          </p:txBody>
        </p:sp>
        <p:sp>
          <p:nvSpPr>
            <p:cNvPr id="73" name="Rectangle 10"/>
            <p:cNvSpPr>
              <a:spLocks noChangeArrowheads="1"/>
            </p:cNvSpPr>
            <p:nvPr/>
          </p:nvSpPr>
          <p:spPr bwMode="auto">
            <a:xfrm>
              <a:off x="-3539626" y="2561437"/>
              <a:ext cx="303213" cy="301625"/>
            </a:xfrm>
            <a:prstGeom prst="rect">
              <a:avLst/>
            </a:prstGeom>
            <a:solidFill>
              <a:schemeClr val="accent5"/>
            </a:solidFill>
            <a:ln>
              <a:noFill/>
            </a:ln>
          </p:spPr>
          <p:txBody>
            <a:bodyPr vert="horz" wrap="square" lIns="91440" tIns="45720" rIns="91440" bIns="45720" numCol="1" anchor="t" anchorCtr="0" compatLnSpc="1">
              <a:prstTxWarp prst="textNoShape">
                <a:avLst/>
              </a:prstTxWarp>
            </a:bodyPr>
            <a:lstStyle/>
            <a:p>
              <a:endParaRPr lang="fr-FR"/>
            </a:p>
          </p:txBody>
        </p:sp>
        <p:sp>
          <p:nvSpPr>
            <p:cNvPr id="74" name="Rectangle 11"/>
            <p:cNvSpPr>
              <a:spLocks noChangeArrowheads="1"/>
            </p:cNvSpPr>
            <p:nvPr/>
          </p:nvSpPr>
          <p:spPr bwMode="auto">
            <a:xfrm>
              <a:off x="-3957138" y="2561437"/>
              <a:ext cx="300038" cy="301625"/>
            </a:xfrm>
            <a:prstGeom prst="rect">
              <a:avLst/>
            </a:prstGeom>
            <a:solidFill>
              <a:schemeClr val="accent5"/>
            </a:solidFill>
            <a:ln>
              <a:noFill/>
            </a:ln>
          </p:spPr>
          <p:txBody>
            <a:bodyPr vert="horz" wrap="square" lIns="91440" tIns="45720" rIns="91440" bIns="45720" numCol="1" anchor="t" anchorCtr="0" compatLnSpc="1">
              <a:prstTxWarp prst="textNoShape">
                <a:avLst/>
              </a:prstTxWarp>
            </a:bodyPr>
            <a:lstStyle/>
            <a:p>
              <a:endParaRPr lang="fr-FR"/>
            </a:p>
          </p:txBody>
        </p:sp>
      </p:grpSp>
      <p:grpSp>
        <p:nvGrpSpPr>
          <p:cNvPr id="75" name="Group 74"/>
          <p:cNvGrpSpPr/>
          <p:nvPr userDrawn="1"/>
        </p:nvGrpSpPr>
        <p:grpSpPr>
          <a:xfrm>
            <a:off x="3792000" y="3501000"/>
            <a:ext cx="416438" cy="439294"/>
            <a:chOff x="-7051675" y="119063"/>
            <a:chExt cx="4743450" cy="5003800"/>
          </a:xfrm>
        </p:grpSpPr>
        <p:sp>
          <p:nvSpPr>
            <p:cNvPr id="76" name="Rectangle 62"/>
            <p:cNvSpPr>
              <a:spLocks noChangeArrowheads="1"/>
            </p:cNvSpPr>
            <p:nvPr/>
          </p:nvSpPr>
          <p:spPr bwMode="auto">
            <a:xfrm>
              <a:off x="-4770438" y="2982913"/>
              <a:ext cx="180975" cy="171132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fr-FR"/>
            </a:p>
          </p:txBody>
        </p:sp>
        <p:sp>
          <p:nvSpPr>
            <p:cNvPr id="77" name="Rectangle 63"/>
            <p:cNvSpPr>
              <a:spLocks noChangeArrowheads="1"/>
            </p:cNvSpPr>
            <p:nvPr/>
          </p:nvSpPr>
          <p:spPr bwMode="auto">
            <a:xfrm>
              <a:off x="-4679950" y="2982913"/>
              <a:ext cx="90488" cy="1711325"/>
            </a:xfrm>
            <a:prstGeom prst="rect">
              <a:avLst/>
            </a:prstGeom>
            <a:solidFill>
              <a:schemeClr val="bg1"/>
            </a:solidFill>
            <a:ln>
              <a:solidFill>
                <a:schemeClr val="tx2"/>
              </a:solidFill>
            </a:ln>
          </p:spPr>
          <p:txBody>
            <a:bodyPr vert="horz" wrap="square" lIns="91440" tIns="45720" rIns="91440" bIns="45720" numCol="1" anchor="t" anchorCtr="0" compatLnSpc="1">
              <a:prstTxWarp prst="textNoShape">
                <a:avLst/>
              </a:prstTxWarp>
            </a:bodyPr>
            <a:lstStyle/>
            <a:p>
              <a:endParaRPr lang="fr-FR"/>
            </a:p>
          </p:txBody>
        </p:sp>
        <p:sp>
          <p:nvSpPr>
            <p:cNvPr id="78" name="Freeform 64"/>
            <p:cNvSpPr>
              <a:spLocks/>
            </p:cNvSpPr>
            <p:nvPr/>
          </p:nvSpPr>
          <p:spPr bwMode="auto">
            <a:xfrm>
              <a:off x="-6465888" y="2930525"/>
              <a:ext cx="1008063" cy="1387475"/>
            </a:xfrm>
            <a:custGeom>
              <a:avLst/>
              <a:gdLst>
                <a:gd name="T0" fmla="*/ 538 w 635"/>
                <a:gd name="T1" fmla="*/ 0 h 874"/>
                <a:gd name="T2" fmla="*/ 635 w 635"/>
                <a:gd name="T3" fmla="*/ 64 h 874"/>
                <a:gd name="T4" fmla="*/ 95 w 635"/>
                <a:gd name="T5" fmla="*/ 874 h 874"/>
                <a:gd name="T6" fmla="*/ 0 w 635"/>
                <a:gd name="T7" fmla="*/ 810 h 874"/>
                <a:gd name="T8" fmla="*/ 538 w 635"/>
                <a:gd name="T9" fmla="*/ 0 h 874"/>
              </a:gdLst>
              <a:ahLst/>
              <a:cxnLst>
                <a:cxn ang="0">
                  <a:pos x="T0" y="T1"/>
                </a:cxn>
                <a:cxn ang="0">
                  <a:pos x="T2" y="T3"/>
                </a:cxn>
                <a:cxn ang="0">
                  <a:pos x="T4" y="T5"/>
                </a:cxn>
                <a:cxn ang="0">
                  <a:pos x="T6" y="T7"/>
                </a:cxn>
                <a:cxn ang="0">
                  <a:pos x="T8" y="T9"/>
                </a:cxn>
              </a:cxnLst>
              <a:rect l="0" t="0" r="r" b="b"/>
              <a:pathLst>
                <a:path w="635" h="874">
                  <a:moveTo>
                    <a:pt x="538" y="0"/>
                  </a:moveTo>
                  <a:lnTo>
                    <a:pt x="635" y="64"/>
                  </a:lnTo>
                  <a:lnTo>
                    <a:pt x="95" y="874"/>
                  </a:lnTo>
                  <a:lnTo>
                    <a:pt x="0" y="810"/>
                  </a:lnTo>
                  <a:lnTo>
                    <a:pt x="538" y="0"/>
                  </a:lnTo>
                  <a:close/>
                </a:path>
              </a:pathLst>
            </a:custGeom>
            <a:solidFill>
              <a:schemeClr val="bg1"/>
            </a:solidFill>
            <a:ln>
              <a:solidFill>
                <a:schemeClr val="tx2"/>
              </a:solidFill>
            </a:ln>
          </p:spPr>
          <p:txBody>
            <a:bodyPr vert="horz" wrap="square" lIns="91440" tIns="45720" rIns="91440" bIns="45720" numCol="1" anchor="t" anchorCtr="0" compatLnSpc="1">
              <a:prstTxWarp prst="textNoShape">
                <a:avLst/>
              </a:prstTxWarp>
            </a:bodyPr>
            <a:lstStyle/>
            <a:p>
              <a:endParaRPr lang="fr-FR"/>
            </a:p>
          </p:txBody>
        </p:sp>
        <p:sp>
          <p:nvSpPr>
            <p:cNvPr id="79" name="Freeform 65"/>
            <p:cNvSpPr>
              <a:spLocks/>
            </p:cNvSpPr>
            <p:nvPr/>
          </p:nvSpPr>
          <p:spPr bwMode="auto">
            <a:xfrm>
              <a:off x="-3902075" y="2930525"/>
              <a:ext cx="1006475" cy="1387475"/>
            </a:xfrm>
            <a:custGeom>
              <a:avLst/>
              <a:gdLst>
                <a:gd name="T0" fmla="*/ 97 w 634"/>
                <a:gd name="T1" fmla="*/ 0 h 874"/>
                <a:gd name="T2" fmla="*/ 634 w 634"/>
                <a:gd name="T3" fmla="*/ 810 h 874"/>
                <a:gd name="T4" fmla="*/ 540 w 634"/>
                <a:gd name="T5" fmla="*/ 874 h 874"/>
                <a:gd name="T6" fmla="*/ 0 w 634"/>
                <a:gd name="T7" fmla="*/ 64 h 874"/>
                <a:gd name="T8" fmla="*/ 97 w 634"/>
                <a:gd name="T9" fmla="*/ 0 h 874"/>
              </a:gdLst>
              <a:ahLst/>
              <a:cxnLst>
                <a:cxn ang="0">
                  <a:pos x="T0" y="T1"/>
                </a:cxn>
                <a:cxn ang="0">
                  <a:pos x="T2" y="T3"/>
                </a:cxn>
                <a:cxn ang="0">
                  <a:pos x="T4" y="T5"/>
                </a:cxn>
                <a:cxn ang="0">
                  <a:pos x="T6" y="T7"/>
                </a:cxn>
                <a:cxn ang="0">
                  <a:pos x="T8" y="T9"/>
                </a:cxn>
              </a:cxnLst>
              <a:rect l="0" t="0" r="r" b="b"/>
              <a:pathLst>
                <a:path w="634" h="874">
                  <a:moveTo>
                    <a:pt x="97" y="0"/>
                  </a:moveTo>
                  <a:lnTo>
                    <a:pt x="634" y="810"/>
                  </a:lnTo>
                  <a:lnTo>
                    <a:pt x="540" y="874"/>
                  </a:lnTo>
                  <a:lnTo>
                    <a:pt x="0" y="64"/>
                  </a:lnTo>
                  <a:lnTo>
                    <a:pt x="97" y="0"/>
                  </a:lnTo>
                  <a:close/>
                </a:path>
              </a:pathLst>
            </a:custGeom>
            <a:solidFill>
              <a:schemeClr val="bg1"/>
            </a:solidFill>
            <a:ln>
              <a:solidFill>
                <a:schemeClr val="tx2"/>
              </a:solidFill>
            </a:ln>
          </p:spPr>
          <p:txBody>
            <a:bodyPr vert="horz" wrap="square" lIns="91440" tIns="45720" rIns="91440" bIns="45720" numCol="1" anchor="t" anchorCtr="0" compatLnSpc="1">
              <a:prstTxWarp prst="textNoShape">
                <a:avLst/>
              </a:prstTxWarp>
            </a:bodyPr>
            <a:lstStyle/>
            <a:p>
              <a:endParaRPr lang="fr-FR"/>
            </a:p>
          </p:txBody>
        </p:sp>
        <p:sp>
          <p:nvSpPr>
            <p:cNvPr id="80" name="Freeform 66"/>
            <p:cNvSpPr>
              <a:spLocks/>
            </p:cNvSpPr>
            <p:nvPr/>
          </p:nvSpPr>
          <p:spPr bwMode="auto">
            <a:xfrm>
              <a:off x="-7051675" y="119063"/>
              <a:ext cx="4743450" cy="3160712"/>
            </a:xfrm>
            <a:custGeom>
              <a:avLst/>
              <a:gdLst>
                <a:gd name="T0" fmla="*/ 999 w 1262"/>
                <a:gd name="T1" fmla="*/ 841 h 841"/>
                <a:gd name="T2" fmla="*/ 1262 w 1262"/>
                <a:gd name="T3" fmla="*/ 578 h 841"/>
                <a:gd name="T4" fmla="*/ 999 w 1262"/>
                <a:gd name="T5" fmla="*/ 315 h 841"/>
                <a:gd name="T6" fmla="*/ 946 w 1262"/>
                <a:gd name="T7" fmla="*/ 321 h 841"/>
                <a:gd name="T8" fmla="*/ 946 w 1262"/>
                <a:gd name="T9" fmla="*/ 315 h 841"/>
                <a:gd name="T10" fmla="*/ 631 w 1262"/>
                <a:gd name="T11" fmla="*/ 0 h 841"/>
                <a:gd name="T12" fmla="*/ 333 w 1262"/>
                <a:gd name="T13" fmla="*/ 211 h 841"/>
                <a:gd name="T14" fmla="*/ 316 w 1262"/>
                <a:gd name="T15" fmla="*/ 210 h 841"/>
                <a:gd name="T16" fmla="*/ 0 w 1262"/>
                <a:gd name="T17" fmla="*/ 526 h 841"/>
                <a:gd name="T18" fmla="*/ 316 w 1262"/>
                <a:gd name="T19" fmla="*/ 841 h 841"/>
                <a:gd name="T20" fmla="*/ 999 w 1262"/>
                <a:gd name="T21" fmla="*/ 8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2" h="841">
                  <a:moveTo>
                    <a:pt x="999" y="841"/>
                  </a:moveTo>
                  <a:cubicBezTo>
                    <a:pt x="1144" y="841"/>
                    <a:pt x="1262" y="723"/>
                    <a:pt x="1262" y="578"/>
                  </a:cubicBezTo>
                  <a:cubicBezTo>
                    <a:pt x="1262" y="433"/>
                    <a:pt x="1144" y="315"/>
                    <a:pt x="999" y="315"/>
                  </a:cubicBezTo>
                  <a:cubicBezTo>
                    <a:pt x="981" y="315"/>
                    <a:pt x="963" y="317"/>
                    <a:pt x="946" y="321"/>
                  </a:cubicBezTo>
                  <a:cubicBezTo>
                    <a:pt x="946" y="319"/>
                    <a:pt x="946" y="317"/>
                    <a:pt x="946" y="315"/>
                  </a:cubicBezTo>
                  <a:cubicBezTo>
                    <a:pt x="946" y="141"/>
                    <a:pt x="805" y="0"/>
                    <a:pt x="631" y="0"/>
                  </a:cubicBezTo>
                  <a:cubicBezTo>
                    <a:pt x="493" y="0"/>
                    <a:pt x="377" y="88"/>
                    <a:pt x="333" y="211"/>
                  </a:cubicBezTo>
                  <a:cubicBezTo>
                    <a:pt x="327" y="210"/>
                    <a:pt x="322" y="210"/>
                    <a:pt x="316" y="210"/>
                  </a:cubicBezTo>
                  <a:cubicBezTo>
                    <a:pt x="141" y="210"/>
                    <a:pt x="0" y="351"/>
                    <a:pt x="0" y="526"/>
                  </a:cubicBezTo>
                  <a:cubicBezTo>
                    <a:pt x="0" y="700"/>
                    <a:pt x="141" y="841"/>
                    <a:pt x="316" y="841"/>
                  </a:cubicBezTo>
                  <a:lnTo>
                    <a:pt x="999" y="84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fr-FR"/>
            </a:p>
          </p:txBody>
        </p:sp>
        <p:sp>
          <p:nvSpPr>
            <p:cNvPr id="81" name="Oval 67"/>
            <p:cNvSpPr>
              <a:spLocks noChangeArrowheads="1"/>
            </p:cNvSpPr>
            <p:nvPr/>
          </p:nvSpPr>
          <p:spPr bwMode="auto">
            <a:xfrm>
              <a:off x="-5108575" y="4265613"/>
              <a:ext cx="857250" cy="857250"/>
            </a:xfrm>
            <a:prstGeom prst="ellipse">
              <a:avLst/>
            </a:prstGeom>
            <a:solidFill>
              <a:schemeClr val="accent5"/>
            </a:solidFill>
            <a:ln>
              <a:noFill/>
            </a:ln>
          </p:spPr>
          <p:txBody>
            <a:bodyPr vert="horz" wrap="square" lIns="91440" tIns="45720" rIns="91440" bIns="45720" numCol="1" anchor="t" anchorCtr="0" compatLnSpc="1">
              <a:prstTxWarp prst="textNoShape">
                <a:avLst/>
              </a:prstTxWarp>
            </a:bodyPr>
            <a:lstStyle/>
            <a:p>
              <a:endParaRPr lang="fr-FR"/>
            </a:p>
          </p:txBody>
        </p:sp>
        <p:sp>
          <p:nvSpPr>
            <p:cNvPr id="82" name="Oval 68"/>
            <p:cNvSpPr>
              <a:spLocks noChangeArrowheads="1"/>
            </p:cNvSpPr>
            <p:nvPr/>
          </p:nvSpPr>
          <p:spPr bwMode="auto">
            <a:xfrm>
              <a:off x="-3398838" y="3836988"/>
              <a:ext cx="857250" cy="857250"/>
            </a:xfrm>
            <a:prstGeom prst="ellipse">
              <a:avLst/>
            </a:prstGeom>
            <a:solidFill>
              <a:schemeClr val="accent5"/>
            </a:solidFill>
            <a:ln>
              <a:noFill/>
            </a:ln>
          </p:spPr>
          <p:txBody>
            <a:bodyPr vert="horz" wrap="square" lIns="91440" tIns="45720" rIns="91440" bIns="45720" numCol="1" anchor="t" anchorCtr="0" compatLnSpc="1">
              <a:prstTxWarp prst="textNoShape">
                <a:avLst/>
              </a:prstTxWarp>
            </a:bodyPr>
            <a:lstStyle/>
            <a:p>
              <a:endParaRPr lang="fr-FR"/>
            </a:p>
          </p:txBody>
        </p:sp>
        <p:sp>
          <p:nvSpPr>
            <p:cNvPr id="83" name="Oval 69"/>
            <p:cNvSpPr>
              <a:spLocks noChangeArrowheads="1"/>
            </p:cNvSpPr>
            <p:nvPr/>
          </p:nvSpPr>
          <p:spPr bwMode="auto">
            <a:xfrm>
              <a:off x="-6818313" y="3836988"/>
              <a:ext cx="857250" cy="857250"/>
            </a:xfrm>
            <a:prstGeom prst="ellipse">
              <a:avLst/>
            </a:prstGeom>
            <a:solidFill>
              <a:schemeClr val="accent5"/>
            </a:solidFill>
            <a:ln>
              <a:noFill/>
            </a:ln>
          </p:spPr>
          <p:txBody>
            <a:bodyPr vert="horz" wrap="square" lIns="91440" tIns="45720" rIns="91440" bIns="45720" numCol="1" anchor="t" anchorCtr="0" compatLnSpc="1">
              <a:prstTxWarp prst="textNoShape">
                <a:avLst/>
              </a:prstTxWarp>
            </a:bodyPr>
            <a:lstStyle/>
            <a:p>
              <a:endParaRPr lang="fr-FR"/>
            </a:p>
          </p:txBody>
        </p:sp>
      </p:grpSp>
      <p:sp>
        <p:nvSpPr>
          <p:cNvPr id="84" name="Freeform 36"/>
          <p:cNvSpPr>
            <a:spLocks noEditPoints="1"/>
          </p:cNvSpPr>
          <p:nvPr userDrawn="1"/>
        </p:nvSpPr>
        <p:spPr bwMode="auto">
          <a:xfrm>
            <a:off x="3936000" y="2709000"/>
            <a:ext cx="379636" cy="439577"/>
          </a:xfrm>
          <a:custGeom>
            <a:avLst/>
            <a:gdLst>
              <a:gd name="T0" fmla="*/ 234 w 418"/>
              <a:gd name="T1" fmla="*/ 6 h 484"/>
              <a:gd name="T2" fmla="*/ 296 w 418"/>
              <a:gd name="T3" fmla="*/ 48 h 484"/>
              <a:gd name="T4" fmla="*/ 320 w 418"/>
              <a:gd name="T5" fmla="*/ 80 h 484"/>
              <a:gd name="T6" fmla="*/ 374 w 418"/>
              <a:gd name="T7" fmla="*/ 96 h 484"/>
              <a:gd name="T8" fmla="*/ 416 w 418"/>
              <a:gd name="T9" fmla="*/ 158 h 484"/>
              <a:gd name="T10" fmla="*/ 410 w 418"/>
              <a:gd name="T11" fmla="*/ 218 h 484"/>
              <a:gd name="T12" fmla="*/ 358 w 418"/>
              <a:gd name="T13" fmla="*/ 270 h 484"/>
              <a:gd name="T14" fmla="*/ 284 w 418"/>
              <a:gd name="T15" fmla="*/ 278 h 484"/>
              <a:gd name="T16" fmla="*/ 262 w 418"/>
              <a:gd name="T17" fmla="*/ 228 h 484"/>
              <a:gd name="T18" fmla="*/ 210 w 418"/>
              <a:gd name="T19" fmla="*/ 206 h 484"/>
              <a:gd name="T20" fmla="*/ 170 w 418"/>
              <a:gd name="T21" fmla="*/ 218 h 484"/>
              <a:gd name="T22" fmla="*/ 140 w 418"/>
              <a:gd name="T23" fmla="*/ 264 h 484"/>
              <a:gd name="T24" fmla="*/ 66 w 418"/>
              <a:gd name="T25" fmla="*/ 278 h 484"/>
              <a:gd name="T26" fmla="*/ 14 w 418"/>
              <a:gd name="T27" fmla="*/ 242 h 484"/>
              <a:gd name="T28" fmla="*/ 0 w 418"/>
              <a:gd name="T29" fmla="*/ 196 h 484"/>
              <a:gd name="T30" fmla="*/ 20 w 418"/>
              <a:gd name="T31" fmla="*/ 142 h 484"/>
              <a:gd name="T32" fmla="*/ 68 w 418"/>
              <a:gd name="T33" fmla="*/ 114 h 484"/>
              <a:gd name="T34" fmla="*/ 94 w 418"/>
              <a:gd name="T35" fmla="*/ 50 h 484"/>
              <a:gd name="T36" fmla="*/ 172 w 418"/>
              <a:gd name="T37" fmla="*/ 2 h 484"/>
              <a:gd name="T38" fmla="*/ 334 w 418"/>
              <a:gd name="T39" fmla="*/ 404 h 484"/>
              <a:gd name="T40" fmla="*/ 322 w 418"/>
              <a:gd name="T41" fmla="*/ 450 h 484"/>
              <a:gd name="T42" fmla="*/ 250 w 418"/>
              <a:gd name="T43" fmla="*/ 480 h 484"/>
              <a:gd name="T44" fmla="*/ 190 w 418"/>
              <a:gd name="T45" fmla="*/ 482 h 484"/>
              <a:gd name="T46" fmla="*/ 116 w 418"/>
              <a:gd name="T47" fmla="*/ 460 h 484"/>
              <a:gd name="T48" fmla="*/ 86 w 418"/>
              <a:gd name="T49" fmla="*/ 404 h 484"/>
              <a:gd name="T50" fmla="*/ 100 w 418"/>
              <a:gd name="T51" fmla="*/ 392 h 484"/>
              <a:gd name="T52" fmla="*/ 150 w 418"/>
              <a:gd name="T53" fmla="*/ 426 h 484"/>
              <a:gd name="T54" fmla="*/ 210 w 418"/>
              <a:gd name="T55" fmla="*/ 438 h 484"/>
              <a:gd name="T56" fmla="*/ 258 w 418"/>
              <a:gd name="T57" fmla="*/ 432 h 484"/>
              <a:gd name="T58" fmla="*/ 312 w 418"/>
              <a:gd name="T59" fmla="*/ 402 h 484"/>
              <a:gd name="T60" fmla="*/ 326 w 418"/>
              <a:gd name="T61" fmla="*/ 390 h 484"/>
              <a:gd name="T62" fmla="*/ 234 w 418"/>
              <a:gd name="T63" fmla="*/ 396 h 484"/>
              <a:gd name="T64" fmla="*/ 294 w 418"/>
              <a:gd name="T65" fmla="*/ 364 h 484"/>
              <a:gd name="T66" fmla="*/ 268 w 418"/>
              <a:gd name="T67" fmla="*/ 324 h 484"/>
              <a:gd name="T68" fmla="*/ 238 w 418"/>
              <a:gd name="T69" fmla="*/ 348 h 484"/>
              <a:gd name="T70" fmla="*/ 196 w 418"/>
              <a:gd name="T71" fmla="*/ 352 h 484"/>
              <a:gd name="T72" fmla="*/ 160 w 418"/>
              <a:gd name="T73" fmla="*/ 332 h 484"/>
              <a:gd name="T74" fmla="*/ 120 w 418"/>
              <a:gd name="T75" fmla="*/ 356 h 484"/>
              <a:gd name="T76" fmla="*/ 166 w 418"/>
              <a:gd name="T77" fmla="*/ 388 h 484"/>
              <a:gd name="T78" fmla="*/ 210 w 418"/>
              <a:gd name="T79" fmla="*/ 398 h 484"/>
              <a:gd name="T80" fmla="*/ 226 w 418"/>
              <a:gd name="T81" fmla="*/ 244 h 484"/>
              <a:gd name="T82" fmla="*/ 244 w 418"/>
              <a:gd name="T83" fmla="*/ 264 h 484"/>
              <a:gd name="T84" fmla="*/ 246 w 418"/>
              <a:gd name="T85" fmla="*/ 286 h 484"/>
              <a:gd name="T86" fmla="*/ 232 w 418"/>
              <a:gd name="T87" fmla="*/ 310 h 484"/>
              <a:gd name="T88" fmla="*/ 210 w 418"/>
              <a:gd name="T89" fmla="*/ 316 h 484"/>
              <a:gd name="T90" fmla="*/ 184 w 418"/>
              <a:gd name="T91" fmla="*/ 304 h 484"/>
              <a:gd name="T92" fmla="*/ 174 w 418"/>
              <a:gd name="T93" fmla="*/ 278 h 484"/>
              <a:gd name="T94" fmla="*/ 180 w 418"/>
              <a:gd name="T95" fmla="*/ 258 h 484"/>
              <a:gd name="T96" fmla="*/ 204 w 418"/>
              <a:gd name="T97" fmla="*/ 242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18" h="484">
                <a:moveTo>
                  <a:pt x="196" y="0"/>
                </a:moveTo>
                <a:lnTo>
                  <a:pt x="196" y="0"/>
                </a:lnTo>
                <a:lnTo>
                  <a:pt x="216" y="2"/>
                </a:lnTo>
                <a:lnTo>
                  <a:pt x="234" y="6"/>
                </a:lnTo>
                <a:lnTo>
                  <a:pt x="252" y="12"/>
                </a:lnTo>
                <a:lnTo>
                  <a:pt x="268" y="22"/>
                </a:lnTo>
                <a:lnTo>
                  <a:pt x="282" y="34"/>
                </a:lnTo>
                <a:lnTo>
                  <a:pt x="296" y="48"/>
                </a:lnTo>
                <a:lnTo>
                  <a:pt x="306" y="62"/>
                </a:lnTo>
                <a:lnTo>
                  <a:pt x="314" y="80"/>
                </a:lnTo>
                <a:lnTo>
                  <a:pt x="314" y="80"/>
                </a:lnTo>
                <a:lnTo>
                  <a:pt x="320" y="80"/>
                </a:lnTo>
                <a:lnTo>
                  <a:pt x="320" y="80"/>
                </a:lnTo>
                <a:lnTo>
                  <a:pt x="340" y="82"/>
                </a:lnTo>
                <a:lnTo>
                  <a:pt x="358" y="88"/>
                </a:lnTo>
                <a:lnTo>
                  <a:pt x="374" y="96"/>
                </a:lnTo>
                <a:lnTo>
                  <a:pt x="390" y="108"/>
                </a:lnTo>
                <a:lnTo>
                  <a:pt x="402" y="124"/>
                </a:lnTo>
                <a:lnTo>
                  <a:pt x="410" y="140"/>
                </a:lnTo>
                <a:lnTo>
                  <a:pt x="416" y="158"/>
                </a:lnTo>
                <a:lnTo>
                  <a:pt x="418" y="180"/>
                </a:lnTo>
                <a:lnTo>
                  <a:pt x="418" y="180"/>
                </a:lnTo>
                <a:lnTo>
                  <a:pt x="416" y="200"/>
                </a:lnTo>
                <a:lnTo>
                  <a:pt x="410" y="218"/>
                </a:lnTo>
                <a:lnTo>
                  <a:pt x="402" y="234"/>
                </a:lnTo>
                <a:lnTo>
                  <a:pt x="390" y="250"/>
                </a:lnTo>
                <a:lnTo>
                  <a:pt x="374" y="262"/>
                </a:lnTo>
                <a:lnTo>
                  <a:pt x="358" y="270"/>
                </a:lnTo>
                <a:lnTo>
                  <a:pt x="340" y="276"/>
                </a:lnTo>
                <a:lnTo>
                  <a:pt x="320" y="278"/>
                </a:lnTo>
                <a:lnTo>
                  <a:pt x="284" y="278"/>
                </a:lnTo>
                <a:lnTo>
                  <a:pt x="284" y="278"/>
                </a:lnTo>
                <a:lnTo>
                  <a:pt x="282" y="264"/>
                </a:lnTo>
                <a:lnTo>
                  <a:pt x="278" y="250"/>
                </a:lnTo>
                <a:lnTo>
                  <a:pt x="272" y="238"/>
                </a:lnTo>
                <a:lnTo>
                  <a:pt x="262" y="228"/>
                </a:lnTo>
                <a:lnTo>
                  <a:pt x="252" y="218"/>
                </a:lnTo>
                <a:lnTo>
                  <a:pt x="240" y="212"/>
                </a:lnTo>
                <a:lnTo>
                  <a:pt x="226" y="208"/>
                </a:lnTo>
                <a:lnTo>
                  <a:pt x="210" y="206"/>
                </a:lnTo>
                <a:lnTo>
                  <a:pt x="210" y="206"/>
                </a:lnTo>
                <a:lnTo>
                  <a:pt x="196" y="208"/>
                </a:lnTo>
                <a:lnTo>
                  <a:pt x="182" y="212"/>
                </a:lnTo>
                <a:lnTo>
                  <a:pt x="170" y="218"/>
                </a:lnTo>
                <a:lnTo>
                  <a:pt x="160" y="228"/>
                </a:lnTo>
                <a:lnTo>
                  <a:pt x="150" y="238"/>
                </a:lnTo>
                <a:lnTo>
                  <a:pt x="144" y="250"/>
                </a:lnTo>
                <a:lnTo>
                  <a:pt x="140" y="264"/>
                </a:lnTo>
                <a:lnTo>
                  <a:pt x="138" y="278"/>
                </a:lnTo>
                <a:lnTo>
                  <a:pt x="82" y="278"/>
                </a:lnTo>
                <a:lnTo>
                  <a:pt x="82" y="278"/>
                </a:lnTo>
                <a:lnTo>
                  <a:pt x="66" y="278"/>
                </a:lnTo>
                <a:lnTo>
                  <a:pt x="50" y="272"/>
                </a:lnTo>
                <a:lnTo>
                  <a:pt x="36" y="264"/>
                </a:lnTo>
                <a:lnTo>
                  <a:pt x="24" y="254"/>
                </a:lnTo>
                <a:lnTo>
                  <a:pt x="14" y="242"/>
                </a:lnTo>
                <a:lnTo>
                  <a:pt x="6" y="228"/>
                </a:lnTo>
                <a:lnTo>
                  <a:pt x="0" y="212"/>
                </a:lnTo>
                <a:lnTo>
                  <a:pt x="0" y="196"/>
                </a:lnTo>
                <a:lnTo>
                  <a:pt x="0" y="196"/>
                </a:lnTo>
                <a:lnTo>
                  <a:pt x="0" y="180"/>
                </a:lnTo>
                <a:lnTo>
                  <a:pt x="4" y="166"/>
                </a:lnTo>
                <a:lnTo>
                  <a:pt x="10" y="154"/>
                </a:lnTo>
                <a:lnTo>
                  <a:pt x="20" y="142"/>
                </a:lnTo>
                <a:lnTo>
                  <a:pt x="30" y="132"/>
                </a:lnTo>
                <a:lnTo>
                  <a:pt x="42" y="124"/>
                </a:lnTo>
                <a:lnTo>
                  <a:pt x="54" y="118"/>
                </a:lnTo>
                <a:lnTo>
                  <a:pt x="68" y="114"/>
                </a:lnTo>
                <a:lnTo>
                  <a:pt x="68" y="114"/>
                </a:lnTo>
                <a:lnTo>
                  <a:pt x="74" y="90"/>
                </a:lnTo>
                <a:lnTo>
                  <a:pt x="82" y="68"/>
                </a:lnTo>
                <a:lnTo>
                  <a:pt x="94" y="50"/>
                </a:lnTo>
                <a:lnTo>
                  <a:pt x="110" y="32"/>
                </a:lnTo>
                <a:lnTo>
                  <a:pt x="128" y="18"/>
                </a:lnTo>
                <a:lnTo>
                  <a:pt x="148" y="8"/>
                </a:lnTo>
                <a:lnTo>
                  <a:pt x="172" y="2"/>
                </a:lnTo>
                <a:lnTo>
                  <a:pt x="196" y="0"/>
                </a:lnTo>
                <a:lnTo>
                  <a:pt x="196" y="0"/>
                </a:lnTo>
                <a:close/>
                <a:moveTo>
                  <a:pt x="326" y="390"/>
                </a:moveTo>
                <a:lnTo>
                  <a:pt x="334" y="404"/>
                </a:lnTo>
                <a:lnTo>
                  <a:pt x="350" y="428"/>
                </a:lnTo>
                <a:lnTo>
                  <a:pt x="350" y="428"/>
                </a:lnTo>
                <a:lnTo>
                  <a:pt x="336" y="440"/>
                </a:lnTo>
                <a:lnTo>
                  <a:pt x="322" y="450"/>
                </a:lnTo>
                <a:lnTo>
                  <a:pt x="304" y="460"/>
                </a:lnTo>
                <a:lnTo>
                  <a:pt x="288" y="468"/>
                </a:lnTo>
                <a:lnTo>
                  <a:pt x="270" y="474"/>
                </a:lnTo>
                <a:lnTo>
                  <a:pt x="250" y="480"/>
                </a:lnTo>
                <a:lnTo>
                  <a:pt x="230" y="482"/>
                </a:lnTo>
                <a:lnTo>
                  <a:pt x="210" y="484"/>
                </a:lnTo>
                <a:lnTo>
                  <a:pt x="210" y="484"/>
                </a:lnTo>
                <a:lnTo>
                  <a:pt x="190" y="482"/>
                </a:lnTo>
                <a:lnTo>
                  <a:pt x="172" y="480"/>
                </a:lnTo>
                <a:lnTo>
                  <a:pt x="152" y="474"/>
                </a:lnTo>
                <a:lnTo>
                  <a:pt x="134" y="468"/>
                </a:lnTo>
                <a:lnTo>
                  <a:pt x="116" y="460"/>
                </a:lnTo>
                <a:lnTo>
                  <a:pt x="100" y="450"/>
                </a:lnTo>
                <a:lnTo>
                  <a:pt x="84" y="440"/>
                </a:lnTo>
                <a:lnTo>
                  <a:pt x="70" y="428"/>
                </a:lnTo>
                <a:lnTo>
                  <a:pt x="86" y="404"/>
                </a:lnTo>
                <a:lnTo>
                  <a:pt x="96" y="390"/>
                </a:lnTo>
                <a:lnTo>
                  <a:pt x="96" y="390"/>
                </a:lnTo>
                <a:lnTo>
                  <a:pt x="100" y="392"/>
                </a:lnTo>
                <a:lnTo>
                  <a:pt x="100" y="392"/>
                </a:lnTo>
                <a:lnTo>
                  <a:pt x="110" y="402"/>
                </a:lnTo>
                <a:lnTo>
                  <a:pt x="122" y="412"/>
                </a:lnTo>
                <a:lnTo>
                  <a:pt x="136" y="420"/>
                </a:lnTo>
                <a:lnTo>
                  <a:pt x="150" y="426"/>
                </a:lnTo>
                <a:lnTo>
                  <a:pt x="164" y="432"/>
                </a:lnTo>
                <a:lnTo>
                  <a:pt x="178" y="436"/>
                </a:lnTo>
                <a:lnTo>
                  <a:pt x="194" y="438"/>
                </a:lnTo>
                <a:lnTo>
                  <a:pt x="210" y="438"/>
                </a:lnTo>
                <a:lnTo>
                  <a:pt x="210" y="438"/>
                </a:lnTo>
                <a:lnTo>
                  <a:pt x="226" y="438"/>
                </a:lnTo>
                <a:lnTo>
                  <a:pt x="242" y="436"/>
                </a:lnTo>
                <a:lnTo>
                  <a:pt x="258" y="432"/>
                </a:lnTo>
                <a:lnTo>
                  <a:pt x="272" y="426"/>
                </a:lnTo>
                <a:lnTo>
                  <a:pt x="286" y="420"/>
                </a:lnTo>
                <a:lnTo>
                  <a:pt x="300" y="412"/>
                </a:lnTo>
                <a:lnTo>
                  <a:pt x="312" y="402"/>
                </a:lnTo>
                <a:lnTo>
                  <a:pt x="322" y="392"/>
                </a:lnTo>
                <a:lnTo>
                  <a:pt x="322" y="392"/>
                </a:lnTo>
                <a:lnTo>
                  <a:pt x="326" y="390"/>
                </a:lnTo>
                <a:lnTo>
                  <a:pt x="326" y="390"/>
                </a:lnTo>
                <a:close/>
                <a:moveTo>
                  <a:pt x="210" y="398"/>
                </a:moveTo>
                <a:lnTo>
                  <a:pt x="210" y="398"/>
                </a:lnTo>
                <a:lnTo>
                  <a:pt x="222" y="398"/>
                </a:lnTo>
                <a:lnTo>
                  <a:pt x="234" y="396"/>
                </a:lnTo>
                <a:lnTo>
                  <a:pt x="256" y="388"/>
                </a:lnTo>
                <a:lnTo>
                  <a:pt x="276" y="378"/>
                </a:lnTo>
                <a:lnTo>
                  <a:pt x="294" y="364"/>
                </a:lnTo>
                <a:lnTo>
                  <a:pt x="294" y="364"/>
                </a:lnTo>
                <a:lnTo>
                  <a:pt x="302" y="356"/>
                </a:lnTo>
                <a:lnTo>
                  <a:pt x="274" y="316"/>
                </a:lnTo>
                <a:lnTo>
                  <a:pt x="274" y="316"/>
                </a:lnTo>
                <a:lnTo>
                  <a:pt x="268" y="324"/>
                </a:lnTo>
                <a:lnTo>
                  <a:pt x="262" y="332"/>
                </a:lnTo>
                <a:lnTo>
                  <a:pt x="262" y="332"/>
                </a:lnTo>
                <a:lnTo>
                  <a:pt x="252" y="340"/>
                </a:lnTo>
                <a:lnTo>
                  <a:pt x="238" y="348"/>
                </a:lnTo>
                <a:lnTo>
                  <a:pt x="226" y="352"/>
                </a:lnTo>
                <a:lnTo>
                  <a:pt x="210" y="352"/>
                </a:lnTo>
                <a:lnTo>
                  <a:pt x="210" y="352"/>
                </a:lnTo>
                <a:lnTo>
                  <a:pt x="196" y="352"/>
                </a:lnTo>
                <a:lnTo>
                  <a:pt x="182" y="348"/>
                </a:lnTo>
                <a:lnTo>
                  <a:pt x="170" y="340"/>
                </a:lnTo>
                <a:lnTo>
                  <a:pt x="160" y="332"/>
                </a:lnTo>
                <a:lnTo>
                  <a:pt x="160" y="332"/>
                </a:lnTo>
                <a:lnTo>
                  <a:pt x="154" y="324"/>
                </a:lnTo>
                <a:lnTo>
                  <a:pt x="148" y="316"/>
                </a:lnTo>
                <a:lnTo>
                  <a:pt x="120" y="356"/>
                </a:lnTo>
                <a:lnTo>
                  <a:pt x="120" y="356"/>
                </a:lnTo>
                <a:lnTo>
                  <a:pt x="128" y="364"/>
                </a:lnTo>
                <a:lnTo>
                  <a:pt x="128" y="364"/>
                </a:lnTo>
                <a:lnTo>
                  <a:pt x="146" y="378"/>
                </a:lnTo>
                <a:lnTo>
                  <a:pt x="166" y="388"/>
                </a:lnTo>
                <a:lnTo>
                  <a:pt x="188" y="396"/>
                </a:lnTo>
                <a:lnTo>
                  <a:pt x="198" y="398"/>
                </a:lnTo>
                <a:lnTo>
                  <a:pt x="210" y="398"/>
                </a:lnTo>
                <a:lnTo>
                  <a:pt x="210" y="398"/>
                </a:lnTo>
                <a:close/>
                <a:moveTo>
                  <a:pt x="210" y="242"/>
                </a:moveTo>
                <a:lnTo>
                  <a:pt x="210" y="242"/>
                </a:lnTo>
                <a:lnTo>
                  <a:pt x="218" y="242"/>
                </a:lnTo>
                <a:lnTo>
                  <a:pt x="226" y="244"/>
                </a:lnTo>
                <a:lnTo>
                  <a:pt x="232" y="248"/>
                </a:lnTo>
                <a:lnTo>
                  <a:pt x="236" y="252"/>
                </a:lnTo>
                <a:lnTo>
                  <a:pt x="242" y="258"/>
                </a:lnTo>
                <a:lnTo>
                  <a:pt x="244" y="264"/>
                </a:lnTo>
                <a:lnTo>
                  <a:pt x="246" y="272"/>
                </a:lnTo>
                <a:lnTo>
                  <a:pt x="248" y="278"/>
                </a:lnTo>
                <a:lnTo>
                  <a:pt x="248" y="278"/>
                </a:lnTo>
                <a:lnTo>
                  <a:pt x="246" y="286"/>
                </a:lnTo>
                <a:lnTo>
                  <a:pt x="244" y="294"/>
                </a:lnTo>
                <a:lnTo>
                  <a:pt x="242" y="300"/>
                </a:lnTo>
                <a:lnTo>
                  <a:pt x="236" y="304"/>
                </a:lnTo>
                <a:lnTo>
                  <a:pt x="232" y="310"/>
                </a:lnTo>
                <a:lnTo>
                  <a:pt x="226" y="312"/>
                </a:lnTo>
                <a:lnTo>
                  <a:pt x="218" y="314"/>
                </a:lnTo>
                <a:lnTo>
                  <a:pt x="210" y="316"/>
                </a:lnTo>
                <a:lnTo>
                  <a:pt x="210" y="316"/>
                </a:lnTo>
                <a:lnTo>
                  <a:pt x="204" y="314"/>
                </a:lnTo>
                <a:lnTo>
                  <a:pt x="196" y="312"/>
                </a:lnTo>
                <a:lnTo>
                  <a:pt x="190" y="310"/>
                </a:lnTo>
                <a:lnTo>
                  <a:pt x="184" y="304"/>
                </a:lnTo>
                <a:lnTo>
                  <a:pt x="180" y="300"/>
                </a:lnTo>
                <a:lnTo>
                  <a:pt x="176" y="294"/>
                </a:lnTo>
                <a:lnTo>
                  <a:pt x="174" y="286"/>
                </a:lnTo>
                <a:lnTo>
                  <a:pt x="174" y="278"/>
                </a:lnTo>
                <a:lnTo>
                  <a:pt x="174" y="278"/>
                </a:lnTo>
                <a:lnTo>
                  <a:pt x="174" y="272"/>
                </a:lnTo>
                <a:lnTo>
                  <a:pt x="176" y="264"/>
                </a:lnTo>
                <a:lnTo>
                  <a:pt x="180" y="258"/>
                </a:lnTo>
                <a:lnTo>
                  <a:pt x="184" y="252"/>
                </a:lnTo>
                <a:lnTo>
                  <a:pt x="190" y="248"/>
                </a:lnTo>
                <a:lnTo>
                  <a:pt x="196" y="244"/>
                </a:lnTo>
                <a:lnTo>
                  <a:pt x="204" y="242"/>
                </a:lnTo>
                <a:lnTo>
                  <a:pt x="210" y="242"/>
                </a:lnTo>
                <a:lnTo>
                  <a:pt x="210" y="242"/>
                </a:lnTo>
                <a:close/>
              </a:path>
            </a:pathLst>
          </a:custGeom>
          <a:solidFill>
            <a:schemeClr val="accent1"/>
          </a:solidFill>
          <a:ln>
            <a:noFill/>
          </a:ln>
        </p:spPr>
        <p:txBody>
          <a:bodyPr vert="horz" wrap="square" lIns="91440" tIns="45721" rIns="91440" bIns="45721" numCol="1" anchor="t" anchorCtr="0" compatLnSpc="1">
            <a:prstTxWarp prst="textNoShape">
              <a:avLst/>
            </a:prstTxWarp>
          </a:bodyPr>
          <a:lstStyle/>
          <a:p>
            <a:endParaRPr lang="en-US" sz="1801"/>
          </a:p>
        </p:txBody>
      </p:sp>
      <p:grpSp>
        <p:nvGrpSpPr>
          <p:cNvPr id="85" name="Group 84"/>
          <p:cNvGrpSpPr/>
          <p:nvPr userDrawn="1"/>
        </p:nvGrpSpPr>
        <p:grpSpPr>
          <a:xfrm>
            <a:off x="7680000" y="621000"/>
            <a:ext cx="932996" cy="697604"/>
            <a:chOff x="5907088" y="2790825"/>
            <a:chExt cx="4492625" cy="3359150"/>
          </a:xfrm>
        </p:grpSpPr>
        <p:sp>
          <p:nvSpPr>
            <p:cNvPr id="86" name="Freeform 112"/>
            <p:cNvSpPr>
              <a:spLocks/>
            </p:cNvSpPr>
            <p:nvPr/>
          </p:nvSpPr>
          <p:spPr bwMode="auto">
            <a:xfrm>
              <a:off x="6964363" y="4137025"/>
              <a:ext cx="3435350" cy="2012950"/>
            </a:xfrm>
            <a:custGeom>
              <a:avLst/>
              <a:gdLst>
                <a:gd name="T0" fmla="*/ 2162 w 2164"/>
                <a:gd name="T1" fmla="*/ 884 h 1268"/>
                <a:gd name="T2" fmla="*/ 2136 w 2164"/>
                <a:gd name="T3" fmla="*/ 784 h 1268"/>
                <a:gd name="T4" fmla="*/ 2084 w 2164"/>
                <a:gd name="T5" fmla="*/ 698 h 1268"/>
                <a:gd name="T6" fmla="*/ 2010 w 2164"/>
                <a:gd name="T7" fmla="*/ 632 h 1268"/>
                <a:gd name="T8" fmla="*/ 1920 w 2164"/>
                <a:gd name="T9" fmla="*/ 588 h 1268"/>
                <a:gd name="T10" fmla="*/ 1816 w 2164"/>
                <a:gd name="T11" fmla="*/ 572 h 1268"/>
                <a:gd name="T12" fmla="*/ 1778 w 2164"/>
                <a:gd name="T13" fmla="*/ 574 h 1268"/>
                <a:gd name="T14" fmla="*/ 1748 w 2164"/>
                <a:gd name="T15" fmla="*/ 566 h 1268"/>
                <a:gd name="T16" fmla="*/ 1732 w 2164"/>
                <a:gd name="T17" fmla="*/ 552 h 1268"/>
                <a:gd name="T18" fmla="*/ 1724 w 2164"/>
                <a:gd name="T19" fmla="*/ 522 h 1268"/>
                <a:gd name="T20" fmla="*/ 1728 w 2164"/>
                <a:gd name="T21" fmla="*/ 476 h 1268"/>
                <a:gd name="T22" fmla="*/ 1722 w 2164"/>
                <a:gd name="T23" fmla="*/ 404 h 1268"/>
                <a:gd name="T24" fmla="*/ 1690 w 2164"/>
                <a:gd name="T25" fmla="*/ 290 h 1268"/>
                <a:gd name="T26" fmla="*/ 1618 w 2164"/>
                <a:gd name="T27" fmla="*/ 174 h 1268"/>
                <a:gd name="T28" fmla="*/ 1518 w 2164"/>
                <a:gd name="T29" fmla="*/ 82 h 1268"/>
                <a:gd name="T30" fmla="*/ 1394 w 2164"/>
                <a:gd name="T31" fmla="*/ 22 h 1268"/>
                <a:gd name="T32" fmla="*/ 1300 w 2164"/>
                <a:gd name="T33" fmla="*/ 4 h 1268"/>
                <a:gd name="T34" fmla="*/ 1252 w 2164"/>
                <a:gd name="T35" fmla="*/ 0 h 1268"/>
                <a:gd name="T36" fmla="*/ 1126 w 2164"/>
                <a:gd name="T37" fmla="*/ 18 h 1268"/>
                <a:gd name="T38" fmla="*/ 1012 w 2164"/>
                <a:gd name="T39" fmla="*/ 66 h 1268"/>
                <a:gd name="T40" fmla="*/ 916 w 2164"/>
                <a:gd name="T41" fmla="*/ 140 h 1268"/>
                <a:gd name="T42" fmla="*/ 842 w 2164"/>
                <a:gd name="T43" fmla="*/ 236 h 1268"/>
                <a:gd name="T44" fmla="*/ 794 w 2164"/>
                <a:gd name="T45" fmla="*/ 352 h 1268"/>
                <a:gd name="T46" fmla="*/ 780 w 2164"/>
                <a:gd name="T47" fmla="*/ 406 h 1268"/>
                <a:gd name="T48" fmla="*/ 756 w 2164"/>
                <a:gd name="T49" fmla="*/ 430 h 1268"/>
                <a:gd name="T50" fmla="*/ 732 w 2164"/>
                <a:gd name="T51" fmla="*/ 434 h 1268"/>
                <a:gd name="T52" fmla="*/ 710 w 2164"/>
                <a:gd name="T53" fmla="*/ 426 h 1268"/>
                <a:gd name="T54" fmla="*/ 622 w 2164"/>
                <a:gd name="T55" fmla="*/ 380 h 1268"/>
                <a:gd name="T56" fmla="*/ 526 w 2164"/>
                <a:gd name="T57" fmla="*/ 356 h 1268"/>
                <a:gd name="T58" fmla="*/ 458 w 2164"/>
                <a:gd name="T59" fmla="*/ 350 h 1268"/>
                <a:gd name="T60" fmla="*/ 322 w 2164"/>
                <a:gd name="T61" fmla="*/ 372 h 1268"/>
                <a:gd name="T62" fmla="*/ 202 w 2164"/>
                <a:gd name="T63" fmla="*/ 430 h 1268"/>
                <a:gd name="T64" fmla="*/ 106 w 2164"/>
                <a:gd name="T65" fmla="*/ 518 h 1268"/>
                <a:gd name="T66" fmla="*/ 36 w 2164"/>
                <a:gd name="T67" fmla="*/ 630 h 1268"/>
                <a:gd name="T68" fmla="*/ 2 w 2164"/>
                <a:gd name="T69" fmla="*/ 762 h 1268"/>
                <a:gd name="T70" fmla="*/ 2 w 2164"/>
                <a:gd name="T71" fmla="*/ 856 h 1268"/>
                <a:gd name="T72" fmla="*/ 36 w 2164"/>
                <a:gd name="T73" fmla="*/ 988 h 1268"/>
                <a:gd name="T74" fmla="*/ 106 w 2164"/>
                <a:gd name="T75" fmla="*/ 1100 h 1268"/>
                <a:gd name="T76" fmla="*/ 202 w 2164"/>
                <a:gd name="T77" fmla="*/ 1190 h 1268"/>
                <a:gd name="T78" fmla="*/ 322 w 2164"/>
                <a:gd name="T79" fmla="*/ 1246 h 1268"/>
                <a:gd name="T80" fmla="*/ 458 w 2164"/>
                <a:gd name="T81" fmla="*/ 1268 h 1268"/>
                <a:gd name="T82" fmla="*/ 828 w 2164"/>
                <a:gd name="T83" fmla="*/ 786 h 1268"/>
                <a:gd name="T84" fmla="*/ 804 w 2164"/>
                <a:gd name="T85" fmla="*/ 780 h 1268"/>
                <a:gd name="T86" fmla="*/ 786 w 2164"/>
                <a:gd name="T87" fmla="*/ 762 h 1268"/>
                <a:gd name="T88" fmla="*/ 782 w 2164"/>
                <a:gd name="T89" fmla="*/ 726 h 1268"/>
                <a:gd name="T90" fmla="*/ 1040 w 2164"/>
                <a:gd name="T91" fmla="*/ 274 h 1268"/>
                <a:gd name="T92" fmla="*/ 1070 w 2164"/>
                <a:gd name="T93" fmla="*/ 250 h 1268"/>
                <a:gd name="T94" fmla="*/ 1094 w 2164"/>
                <a:gd name="T95" fmla="*/ 250 h 1268"/>
                <a:gd name="T96" fmla="*/ 1124 w 2164"/>
                <a:gd name="T97" fmla="*/ 274 h 1268"/>
                <a:gd name="T98" fmla="*/ 1382 w 2164"/>
                <a:gd name="T99" fmla="*/ 726 h 1268"/>
                <a:gd name="T100" fmla="*/ 1378 w 2164"/>
                <a:gd name="T101" fmla="*/ 762 h 1268"/>
                <a:gd name="T102" fmla="*/ 1360 w 2164"/>
                <a:gd name="T103" fmla="*/ 780 h 1268"/>
                <a:gd name="T104" fmla="*/ 1248 w 2164"/>
                <a:gd name="T105" fmla="*/ 786 h 1268"/>
                <a:gd name="T106" fmla="*/ 1816 w 2164"/>
                <a:gd name="T107" fmla="*/ 1268 h 1268"/>
                <a:gd name="T108" fmla="*/ 1920 w 2164"/>
                <a:gd name="T109" fmla="*/ 1252 h 1268"/>
                <a:gd name="T110" fmla="*/ 2010 w 2164"/>
                <a:gd name="T111" fmla="*/ 1208 h 1268"/>
                <a:gd name="T112" fmla="*/ 2084 w 2164"/>
                <a:gd name="T113" fmla="*/ 1140 h 1268"/>
                <a:gd name="T114" fmla="*/ 2136 w 2164"/>
                <a:gd name="T115" fmla="*/ 1054 h 1268"/>
                <a:gd name="T116" fmla="*/ 2162 w 2164"/>
                <a:gd name="T117" fmla="*/ 956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64" h="1268">
                  <a:moveTo>
                    <a:pt x="2164" y="920"/>
                  </a:moveTo>
                  <a:lnTo>
                    <a:pt x="2164" y="920"/>
                  </a:lnTo>
                  <a:lnTo>
                    <a:pt x="2162" y="884"/>
                  </a:lnTo>
                  <a:lnTo>
                    <a:pt x="2156" y="850"/>
                  </a:lnTo>
                  <a:lnTo>
                    <a:pt x="2148" y="816"/>
                  </a:lnTo>
                  <a:lnTo>
                    <a:pt x="2136" y="784"/>
                  </a:lnTo>
                  <a:lnTo>
                    <a:pt x="2122" y="754"/>
                  </a:lnTo>
                  <a:lnTo>
                    <a:pt x="2104" y="726"/>
                  </a:lnTo>
                  <a:lnTo>
                    <a:pt x="2084" y="698"/>
                  </a:lnTo>
                  <a:lnTo>
                    <a:pt x="2062" y="674"/>
                  </a:lnTo>
                  <a:lnTo>
                    <a:pt x="2036" y="652"/>
                  </a:lnTo>
                  <a:lnTo>
                    <a:pt x="2010" y="632"/>
                  </a:lnTo>
                  <a:lnTo>
                    <a:pt x="1982" y="614"/>
                  </a:lnTo>
                  <a:lnTo>
                    <a:pt x="1952" y="600"/>
                  </a:lnTo>
                  <a:lnTo>
                    <a:pt x="1920" y="588"/>
                  </a:lnTo>
                  <a:lnTo>
                    <a:pt x="1886" y="578"/>
                  </a:lnTo>
                  <a:lnTo>
                    <a:pt x="1852" y="574"/>
                  </a:lnTo>
                  <a:lnTo>
                    <a:pt x="1816" y="572"/>
                  </a:lnTo>
                  <a:lnTo>
                    <a:pt x="1816" y="572"/>
                  </a:lnTo>
                  <a:lnTo>
                    <a:pt x="1778" y="574"/>
                  </a:lnTo>
                  <a:lnTo>
                    <a:pt x="1778" y="574"/>
                  </a:lnTo>
                  <a:lnTo>
                    <a:pt x="1768" y="574"/>
                  </a:lnTo>
                  <a:lnTo>
                    <a:pt x="1756" y="572"/>
                  </a:lnTo>
                  <a:lnTo>
                    <a:pt x="1748" y="566"/>
                  </a:lnTo>
                  <a:lnTo>
                    <a:pt x="1740" y="560"/>
                  </a:lnTo>
                  <a:lnTo>
                    <a:pt x="1740" y="560"/>
                  </a:lnTo>
                  <a:lnTo>
                    <a:pt x="1732" y="552"/>
                  </a:lnTo>
                  <a:lnTo>
                    <a:pt x="1728" y="542"/>
                  </a:lnTo>
                  <a:lnTo>
                    <a:pt x="1726" y="532"/>
                  </a:lnTo>
                  <a:lnTo>
                    <a:pt x="1724" y="522"/>
                  </a:lnTo>
                  <a:lnTo>
                    <a:pt x="1724" y="522"/>
                  </a:lnTo>
                  <a:lnTo>
                    <a:pt x="1728" y="476"/>
                  </a:lnTo>
                  <a:lnTo>
                    <a:pt x="1728" y="476"/>
                  </a:lnTo>
                  <a:lnTo>
                    <a:pt x="1726" y="452"/>
                  </a:lnTo>
                  <a:lnTo>
                    <a:pt x="1724" y="428"/>
                  </a:lnTo>
                  <a:lnTo>
                    <a:pt x="1722" y="404"/>
                  </a:lnTo>
                  <a:lnTo>
                    <a:pt x="1718" y="380"/>
                  </a:lnTo>
                  <a:lnTo>
                    <a:pt x="1706" y="334"/>
                  </a:lnTo>
                  <a:lnTo>
                    <a:pt x="1690" y="290"/>
                  </a:lnTo>
                  <a:lnTo>
                    <a:pt x="1670" y="250"/>
                  </a:lnTo>
                  <a:lnTo>
                    <a:pt x="1646" y="210"/>
                  </a:lnTo>
                  <a:lnTo>
                    <a:pt x="1618" y="174"/>
                  </a:lnTo>
                  <a:lnTo>
                    <a:pt x="1588" y="140"/>
                  </a:lnTo>
                  <a:lnTo>
                    <a:pt x="1554" y="110"/>
                  </a:lnTo>
                  <a:lnTo>
                    <a:pt x="1518" y="82"/>
                  </a:lnTo>
                  <a:lnTo>
                    <a:pt x="1478" y="58"/>
                  </a:lnTo>
                  <a:lnTo>
                    <a:pt x="1436" y="38"/>
                  </a:lnTo>
                  <a:lnTo>
                    <a:pt x="1394" y="22"/>
                  </a:lnTo>
                  <a:lnTo>
                    <a:pt x="1348" y="10"/>
                  </a:lnTo>
                  <a:lnTo>
                    <a:pt x="1324" y="6"/>
                  </a:lnTo>
                  <a:lnTo>
                    <a:pt x="1300" y="4"/>
                  </a:lnTo>
                  <a:lnTo>
                    <a:pt x="1276" y="2"/>
                  </a:lnTo>
                  <a:lnTo>
                    <a:pt x="1252" y="0"/>
                  </a:lnTo>
                  <a:lnTo>
                    <a:pt x="1252" y="0"/>
                  </a:lnTo>
                  <a:lnTo>
                    <a:pt x="1210" y="2"/>
                  </a:lnTo>
                  <a:lnTo>
                    <a:pt x="1168" y="8"/>
                  </a:lnTo>
                  <a:lnTo>
                    <a:pt x="1126" y="18"/>
                  </a:lnTo>
                  <a:lnTo>
                    <a:pt x="1086" y="30"/>
                  </a:lnTo>
                  <a:lnTo>
                    <a:pt x="1050" y="46"/>
                  </a:lnTo>
                  <a:lnTo>
                    <a:pt x="1012" y="66"/>
                  </a:lnTo>
                  <a:lnTo>
                    <a:pt x="978" y="88"/>
                  </a:lnTo>
                  <a:lnTo>
                    <a:pt x="946" y="112"/>
                  </a:lnTo>
                  <a:lnTo>
                    <a:pt x="916" y="140"/>
                  </a:lnTo>
                  <a:lnTo>
                    <a:pt x="888" y="170"/>
                  </a:lnTo>
                  <a:lnTo>
                    <a:pt x="864" y="202"/>
                  </a:lnTo>
                  <a:lnTo>
                    <a:pt x="842" y="236"/>
                  </a:lnTo>
                  <a:lnTo>
                    <a:pt x="822" y="274"/>
                  </a:lnTo>
                  <a:lnTo>
                    <a:pt x="806" y="312"/>
                  </a:lnTo>
                  <a:lnTo>
                    <a:pt x="794" y="352"/>
                  </a:lnTo>
                  <a:lnTo>
                    <a:pt x="784" y="394"/>
                  </a:lnTo>
                  <a:lnTo>
                    <a:pt x="784" y="394"/>
                  </a:lnTo>
                  <a:lnTo>
                    <a:pt x="780" y="406"/>
                  </a:lnTo>
                  <a:lnTo>
                    <a:pt x="774" y="416"/>
                  </a:lnTo>
                  <a:lnTo>
                    <a:pt x="766" y="424"/>
                  </a:lnTo>
                  <a:lnTo>
                    <a:pt x="756" y="430"/>
                  </a:lnTo>
                  <a:lnTo>
                    <a:pt x="756" y="430"/>
                  </a:lnTo>
                  <a:lnTo>
                    <a:pt x="744" y="434"/>
                  </a:lnTo>
                  <a:lnTo>
                    <a:pt x="732" y="434"/>
                  </a:lnTo>
                  <a:lnTo>
                    <a:pt x="722" y="432"/>
                  </a:lnTo>
                  <a:lnTo>
                    <a:pt x="710" y="426"/>
                  </a:lnTo>
                  <a:lnTo>
                    <a:pt x="710" y="426"/>
                  </a:lnTo>
                  <a:lnTo>
                    <a:pt x="682" y="408"/>
                  </a:lnTo>
                  <a:lnTo>
                    <a:pt x="652" y="394"/>
                  </a:lnTo>
                  <a:lnTo>
                    <a:pt x="622" y="380"/>
                  </a:lnTo>
                  <a:lnTo>
                    <a:pt x="590" y="370"/>
                  </a:lnTo>
                  <a:lnTo>
                    <a:pt x="558" y="362"/>
                  </a:lnTo>
                  <a:lnTo>
                    <a:pt x="526" y="356"/>
                  </a:lnTo>
                  <a:lnTo>
                    <a:pt x="492" y="352"/>
                  </a:lnTo>
                  <a:lnTo>
                    <a:pt x="458" y="350"/>
                  </a:lnTo>
                  <a:lnTo>
                    <a:pt x="458" y="350"/>
                  </a:lnTo>
                  <a:lnTo>
                    <a:pt x="412" y="354"/>
                  </a:lnTo>
                  <a:lnTo>
                    <a:pt x="366" y="360"/>
                  </a:lnTo>
                  <a:lnTo>
                    <a:pt x="322" y="372"/>
                  </a:lnTo>
                  <a:lnTo>
                    <a:pt x="280" y="386"/>
                  </a:lnTo>
                  <a:lnTo>
                    <a:pt x="240" y="406"/>
                  </a:lnTo>
                  <a:lnTo>
                    <a:pt x="202" y="430"/>
                  </a:lnTo>
                  <a:lnTo>
                    <a:pt x="168" y="456"/>
                  </a:lnTo>
                  <a:lnTo>
                    <a:pt x="134" y="486"/>
                  </a:lnTo>
                  <a:lnTo>
                    <a:pt x="106" y="518"/>
                  </a:lnTo>
                  <a:lnTo>
                    <a:pt x="78" y="554"/>
                  </a:lnTo>
                  <a:lnTo>
                    <a:pt x="56" y="590"/>
                  </a:lnTo>
                  <a:lnTo>
                    <a:pt x="36" y="630"/>
                  </a:lnTo>
                  <a:lnTo>
                    <a:pt x="22" y="674"/>
                  </a:lnTo>
                  <a:lnTo>
                    <a:pt x="10" y="716"/>
                  </a:lnTo>
                  <a:lnTo>
                    <a:pt x="2" y="762"/>
                  </a:lnTo>
                  <a:lnTo>
                    <a:pt x="0" y="810"/>
                  </a:lnTo>
                  <a:lnTo>
                    <a:pt x="0" y="810"/>
                  </a:lnTo>
                  <a:lnTo>
                    <a:pt x="2" y="856"/>
                  </a:lnTo>
                  <a:lnTo>
                    <a:pt x="10" y="902"/>
                  </a:lnTo>
                  <a:lnTo>
                    <a:pt x="22" y="946"/>
                  </a:lnTo>
                  <a:lnTo>
                    <a:pt x="36" y="988"/>
                  </a:lnTo>
                  <a:lnTo>
                    <a:pt x="56" y="1028"/>
                  </a:lnTo>
                  <a:lnTo>
                    <a:pt x="78" y="1066"/>
                  </a:lnTo>
                  <a:lnTo>
                    <a:pt x="106" y="1100"/>
                  </a:lnTo>
                  <a:lnTo>
                    <a:pt x="134" y="1134"/>
                  </a:lnTo>
                  <a:lnTo>
                    <a:pt x="168" y="1162"/>
                  </a:lnTo>
                  <a:lnTo>
                    <a:pt x="202" y="1190"/>
                  </a:lnTo>
                  <a:lnTo>
                    <a:pt x="240" y="1212"/>
                  </a:lnTo>
                  <a:lnTo>
                    <a:pt x="280" y="1232"/>
                  </a:lnTo>
                  <a:lnTo>
                    <a:pt x="322" y="1246"/>
                  </a:lnTo>
                  <a:lnTo>
                    <a:pt x="366" y="1258"/>
                  </a:lnTo>
                  <a:lnTo>
                    <a:pt x="412" y="1266"/>
                  </a:lnTo>
                  <a:lnTo>
                    <a:pt x="458" y="1268"/>
                  </a:lnTo>
                  <a:lnTo>
                    <a:pt x="918" y="1268"/>
                  </a:lnTo>
                  <a:lnTo>
                    <a:pt x="918" y="786"/>
                  </a:lnTo>
                  <a:lnTo>
                    <a:pt x="828" y="786"/>
                  </a:lnTo>
                  <a:lnTo>
                    <a:pt x="828" y="786"/>
                  </a:lnTo>
                  <a:lnTo>
                    <a:pt x="816" y="784"/>
                  </a:lnTo>
                  <a:lnTo>
                    <a:pt x="804" y="780"/>
                  </a:lnTo>
                  <a:lnTo>
                    <a:pt x="794" y="772"/>
                  </a:lnTo>
                  <a:lnTo>
                    <a:pt x="786" y="762"/>
                  </a:lnTo>
                  <a:lnTo>
                    <a:pt x="786" y="762"/>
                  </a:lnTo>
                  <a:lnTo>
                    <a:pt x="782" y="750"/>
                  </a:lnTo>
                  <a:lnTo>
                    <a:pt x="780" y="738"/>
                  </a:lnTo>
                  <a:lnTo>
                    <a:pt x="782" y="726"/>
                  </a:lnTo>
                  <a:lnTo>
                    <a:pt x="786" y="714"/>
                  </a:lnTo>
                  <a:lnTo>
                    <a:pt x="1040" y="274"/>
                  </a:lnTo>
                  <a:lnTo>
                    <a:pt x="1040" y="274"/>
                  </a:lnTo>
                  <a:lnTo>
                    <a:pt x="1048" y="264"/>
                  </a:lnTo>
                  <a:lnTo>
                    <a:pt x="1058" y="256"/>
                  </a:lnTo>
                  <a:lnTo>
                    <a:pt x="1070" y="250"/>
                  </a:lnTo>
                  <a:lnTo>
                    <a:pt x="1082" y="250"/>
                  </a:lnTo>
                  <a:lnTo>
                    <a:pt x="1082" y="250"/>
                  </a:lnTo>
                  <a:lnTo>
                    <a:pt x="1094" y="250"/>
                  </a:lnTo>
                  <a:lnTo>
                    <a:pt x="1106" y="256"/>
                  </a:lnTo>
                  <a:lnTo>
                    <a:pt x="1116" y="264"/>
                  </a:lnTo>
                  <a:lnTo>
                    <a:pt x="1124" y="274"/>
                  </a:lnTo>
                  <a:lnTo>
                    <a:pt x="1378" y="714"/>
                  </a:lnTo>
                  <a:lnTo>
                    <a:pt x="1378" y="714"/>
                  </a:lnTo>
                  <a:lnTo>
                    <a:pt x="1382" y="726"/>
                  </a:lnTo>
                  <a:lnTo>
                    <a:pt x="1384" y="738"/>
                  </a:lnTo>
                  <a:lnTo>
                    <a:pt x="1382" y="750"/>
                  </a:lnTo>
                  <a:lnTo>
                    <a:pt x="1378" y="762"/>
                  </a:lnTo>
                  <a:lnTo>
                    <a:pt x="1378" y="762"/>
                  </a:lnTo>
                  <a:lnTo>
                    <a:pt x="1370" y="772"/>
                  </a:lnTo>
                  <a:lnTo>
                    <a:pt x="1360" y="780"/>
                  </a:lnTo>
                  <a:lnTo>
                    <a:pt x="1350" y="784"/>
                  </a:lnTo>
                  <a:lnTo>
                    <a:pt x="1336" y="786"/>
                  </a:lnTo>
                  <a:lnTo>
                    <a:pt x="1248" y="786"/>
                  </a:lnTo>
                  <a:lnTo>
                    <a:pt x="1248" y="1268"/>
                  </a:lnTo>
                  <a:lnTo>
                    <a:pt x="1816" y="1268"/>
                  </a:lnTo>
                  <a:lnTo>
                    <a:pt x="1816" y="1268"/>
                  </a:lnTo>
                  <a:lnTo>
                    <a:pt x="1852" y="1266"/>
                  </a:lnTo>
                  <a:lnTo>
                    <a:pt x="1886" y="1260"/>
                  </a:lnTo>
                  <a:lnTo>
                    <a:pt x="1920" y="1252"/>
                  </a:lnTo>
                  <a:lnTo>
                    <a:pt x="1952" y="1240"/>
                  </a:lnTo>
                  <a:lnTo>
                    <a:pt x="1982" y="1226"/>
                  </a:lnTo>
                  <a:lnTo>
                    <a:pt x="2010" y="1208"/>
                  </a:lnTo>
                  <a:lnTo>
                    <a:pt x="2036" y="1188"/>
                  </a:lnTo>
                  <a:lnTo>
                    <a:pt x="2062" y="1166"/>
                  </a:lnTo>
                  <a:lnTo>
                    <a:pt x="2084" y="1140"/>
                  </a:lnTo>
                  <a:lnTo>
                    <a:pt x="2104" y="1114"/>
                  </a:lnTo>
                  <a:lnTo>
                    <a:pt x="2122" y="1086"/>
                  </a:lnTo>
                  <a:lnTo>
                    <a:pt x="2136" y="1054"/>
                  </a:lnTo>
                  <a:lnTo>
                    <a:pt x="2148" y="1022"/>
                  </a:lnTo>
                  <a:lnTo>
                    <a:pt x="2156" y="990"/>
                  </a:lnTo>
                  <a:lnTo>
                    <a:pt x="2162" y="956"/>
                  </a:lnTo>
                  <a:lnTo>
                    <a:pt x="2164" y="920"/>
                  </a:lnTo>
                  <a:lnTo>
                    <a:pt x="2164" y="920"/>
                  </a:lnTo>
                </a:path>
              </a:pathLst>
            </a:custGeom>
            <a:noFill/>
            <a:ln w="9525">
              <a:noFill/>
              <a:round/>
              <a:headEnd/>
              <a:tailEnd/>
            </a:ln>
            <a:extLst>
              <a:ext uri="{909E8E84-426E-40DD-AFC4-6F175D3DCCD1}">
                <a14:hiddenFill xmlns:a14="http://schemas.microsoft.com/office/drawing/2010/main">
                  <a:solidFill>
                    <a:srgbClr val="FFFFFF"/>
                  </a:solidFill>
                </a14:hiddenFill>
              </a:ext>
            </a:extLst>
          </p:spPr>
          <p:txBody>
            <a:bodyPr vert="horz" wrap="square" lIns="91440" tIns="45721" rIns="91440" bIns="45721" numCol="1" anchor="t" anchorCtr="0" compatLnSpc="1">
              <a:prstTxWarp prst="textNoShape">
                <a:avLst/>
              </a:prstTxWarp>
            </a:bodyPr>
            <a:lstStyle/>
            <a:p>
              <a:endParaRPr lang="en-US" sz="1801"/>
            </a:p>
          </p:txBody>
        </p:sp>
        <p:sp>
          <p:nvSpPr>
            <p:cNvPr id="87" name="Freeform 113"/>
            <p:cNvSpPr>
              <a:spLocks/>
            </p:cNvSpPr>
            <p:nvPr/>
          </p:nvSpPr>
          <p:spPr bwMode="auto">
            <a:xfrm>
              <a:off x="5907088" y="2790825"/>
              <a:ext cx="3435350" cy="2009775"/>
            </a:xfrm>
            <a:custGeom>
              <a:avLst/>
              <a:gdLst>
                <a:gd name="T0" fmla="*/ 1984 w 2164"/>
                <a:gd name="T1" fmla="*/ 756 h 1266"/>
                <a:gd name="T2" fmla="*/ 2106 w 2164"/>
                <a:gd name="T3" fmla="*/ 784 h 1266"/>
                <a:gd name="T4" fmla="*/ 2160 w 2164"/>
                <a:gd name="T5" fmla="*/ 762 h 1266"/>
                <a:gd name="T6" fmla="*/ 2108 w 2164"/>
                <a:gd name="T7" fmla="*/ 590 h 1266"/>
                <a:gd name="T8" fmla="*/ 1996 w 2164"/>
                <a:gd name="T9" fmla="*/ 454 h 1266"/>
                <a:gd name="T10" fmla="*/ 1840 w 2164"/>
                <a:gd name="T11" fmla="*/ 370 h 1266"/>
                <a:gd name="T12" fmla="*/ 1704 w 2164"/>
                <a:gd name="T13" fmla="*/ 350 h 1266"/>
                <a:gd name="T14" fmla="*/ 1574 w 2164"/>
                <a:gd name="T15" fmla="*/ 370 h 1266"/>
                <a:gd name="T16" fmla="*/ 1454 w 2164"/>
                <a:gd name="T17" fmla="*/ 426 h 1266"/>
                <a:gd name="T18" fmla="*/ 1418 w 2164"/>
                <a:gd name="T19" fmla="*/ 432 h 1266"/>
                <a:gd name="T20" fmla="*/ 1388 w 2164"/>
                <a:gd name="T21" fmla="*/ 416 h 1266"/>
                <a:gd name="T22" fmla="*/ 1372 w 2164"/>
                <a:gd name="T23" fmla="*/ 358 h 1266"/>
                <a:gd name="T24" fmla="*/ 1314 w 2164"/>
                <a:gd name="T25" fmla="*/ 224 h 1266"/>
                <a:gd name="T26" fmla="*/ 1246 w 2164"/>
                <a:gd name="T27" fmla="*/ 542 h 1266"/>
                <a:gd name="T28" fmla="*/ 1360 w 2164"/>
                <a:gd name="T29" fmla="*/ 548 h 1266"/>
                <a:gd name="T30" fmla="*/ 1382 w 2164"/>
                <a:gd name="T31" fmla="*/ 578 h 1266"/>
                <a:gd name="T32" fmla="*/ 1124 w 2164"/>
                <a:gd name="T33" fmla="*/ 1054 h 1266"/>
                <a:gd name="T34" fmla="*/ 1106 w 2164"/>
                <a:gd name="T35" fmla="*/ 1072 h 1266"/>
                <a:gd name="T36" fmla="*/ 1068 w 2164"/>
                <a:gd name="T37" fmla="*/ 1076 h 1266"/>
                <a:gd name="T38" fmla="*/ 786 w 2164"/>
                <a:gd name="T39" fmla="*/ 614 h 1266"/>
                <a:gd name="T40" fmla="*/ 780 w 2164"/>
                <a:gd name="T41" fmla="*/ 578 h 1266"/>
                <a:gd name="T42" fmla="*/ 804 w 2164"/>
                <a:gd name="T43" fmla="*/ 548 h 1266"/>
                <a:gd name="T44" fmla="*/ 916 w 2164"/>
                <a:gd name="T45" fmla="*/ 0 h 1266"/>
                <a:gd name="T46" fmla="*/ 862 w 2164"/>
                <a:gd name="T47" fmla="*/ 2 h 1266"/>
                <a:gd name="T48" fmla="*/ 726 w 2164"/>
                <a:gd name="T49" fmla="*/ 38 h 1266"/>
                <a:gd name="T50" fmla="*/ 576 w 2164"/>
                <a:gd name="T51" fmla="*/ 140 h 1266"/>
                <a:gd name="T52" fmla="*/ 474 w 2164"/>
                <a:gd name="T53" fmla="*/ 290 h 1266"/>
                <a:gd name="T54" fmla="*/ 438 w 2164"/>
                <a:gd name="T55" fmla="*/ 426 h 1266"/>
                <a:gd name="T56" fmla="*/ 438 w 2164"/>
                <a:gd name="T57" fmla="*/ 520 h 1266"/>
                <a:gd name="T58" fmla="*/ 432 w 2164"/>
                <a:gd name="T59" fmla="*/ 552 h 1266"/>
                <a:gd name="T60" fmla="*/ 406 w 2164"/>
                <a:gd name="T61" fmla="*/ 570 h 1266"/>
                <a:gd name="T62" fmla="*/ 348 w 2164"/>
                <a:gd name="T63" fmla="*/ 570 h 1266"/>
                <a:gd name="T64" fmla="*/ 244 w 2164"/>
                <a:gd name="T65" fmla="*/ 586 h 1266"/>
                <a:gd name="T66" fmla="*/ 126 w 2164"/>
                <a:gd name="T67" fmla="*/ 650 h 1266"/>
                <a:gd name="T68" fmla="*/ 42 w 2164"/>
                <a:gd name="T69" fmla="*/ 754 h 1266"/>
                <a:gd name="T70" fmla="*/ 2 w 2164"/>
                <a:gd name="T71" fmla="*/ 884 h 1266"/>
                <a:gd name="T72" fmla="*/ 8 w 2164"/>
                <a:gd name="T73" fmla="*/ 988 h 1266"/>
                <a:gd name="T74" fmla="*/ 60 w 2164"/>
                <a:gd name="T75" fmla="*/ 1114 h 1266"/>
                <a:gd name="T76" fmla="*/ 154 w 2164"/>
                <a:gd name="T77" fmla="*/ 1208 h 1266"/>
                <a:gd name="T78" fmla="*/ 278 w 2164"/>
                <a:gd name="T79" fmla="*/ 1260 h 1266"/>
                <a:gd name="T80" fmla="*/ 732 w 2164"/>
                <a:gd name="T81" fmla="*/ 1266 h 1266"/>
                <a:gd name="T82" fmla="*/ 814 w 2164"/>
                <a:gd name="T83" fmla="*/ 1198 h 1266"/>
                <a:gd name="T84" fmla="*/ 908 w 2164"/>
                <a:gd name="T85" fmla="*/ 1146 h 1266"/>
                <a:gd name="T86" fmla="*/ 1012 w 2164"/>
                <a:gd name="T87" fmla="*/ 1114 h 1266"/>
                <a:gd name="T88" fmla="*/ 1124 w 2164"/>
                <a:gd name="T89" fmla="*/ 1102 h 1266"/>
                <a:gd name="T90" fmla="*/ 1220 w 2164"/>
                <a:gd name="T91" fmla="*/ 1112 h 1266"/>
                <a:gd name="T92" fmla="*/ 1342 w 2164"/>
                <a:gd name="T93" fmla="*/ 1148 h 1266"/>
                <a:gd name="T94" fmla="*/ 1404 w 2164"/>
                <a:gd name="T95" fmla="*/ 1074 h 1266"/>
                <a:gd name="T96" fmla="*/ 1508 w 2164"/>
                <a:gd name="T97" fmla="*/ 926 h 1266"/>
                <a:gd name="T98" fmla="*/ 1652 w 2164"/>
                <a:gd name="T99" fmla="*/ 818 h 1266"/>
                <a:gd name="T100" fmla="*/ 1824 w 2164"/>
                <a:gd name="T101" fmla="*/ 760 h 1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164" h="1266">
                  <a:moveTo>
                    <a:pt x="1918" y="752"/>
                  </a:moveTo>
                  <a:lnTo>
                    <a:pt x="1918" y="752"/>
                  </a:lnTo>
                  <a:lnTo>
                    <a:pt x="1950" y="754"/>
                  </a:lnTo>
                  <a:lnTo>
                    <a:pt x="1984" y="756"/>
                  </a:lnTo>
                  <a:lnTo>
                    <a:pt x="2014" y="760"/>
                  </a:lnTo>
                  <a:lnTo>
                    <a:pt x="2046" y="768"/>
                  </a:lnTo>
                  <a:lnTo>
                    <a:pt x="2076" y="774"/>
                  </a:lnTo>
                  <a:lnTo>
                    <a:pt x="2106" y="784"/>
                  </a:lnTo>
                  <a:lnTo>
                    <a:pt x="2134" y="796"/>
                  </a:lnTo>
                  <a:lnTo>
                    <a:pt x="2164" y="808"/>
                  </a:lnTo>
                  <a:lnTo>
                    <a:pt x="2164" y="808"/>
                  </a:lnTo>
                  <a:lnTo>
                    <a:pt x="2160" y="762"/>
                  </a:lnTo>
                  <a:lnTo>
                    <a:pt x="2154" y="716"/>
                  </a:lnTo>
                  <a:lnTo>
                    <a:pt x="2142" y="672"/>
                  </a:lnTo>
                  <a:lnTo>
                    <a:pt x="2126" y="630"/>
                  </a:lnTo>
                  <a:lnTo>
                    <a:pt x="2108" y="590"/>
                  </a:lnTo>
                  <a:lnTo>
                    <a:pt x="2084" y="552"/>
                  </a:lnTo>
                  <a:lnTo>
                    <a:pt x="2058" y="516"/>
                  </a:lnTo>
                  <a:lnTo>
                    <a:pt x="2028" y="484"/>
                  </a:lnTo>
                  <a:lnTo>
                    <a:pt x="1996" y="454"/>
                  </a:lnTo>
                  <a:lnTo>
                    <a:pt x="1960" y="428"/>
                  </a:lnTo>
                  <a:lnTo>
                    <a:pt x="1922" y="406"/>
                  </a:lnTo>
                  <a:lnTo>
                    <a:pt x="1882" y="386"/>
                  </a:lnTo>
                  <a:lnTo>
                    <a:pt x="1840" y="370"/>
                  </a:lnTo>
                  <a:lnTo>
                    <a:pt x="1796" y="360"/>
                  </a:lnTo>
                  <a:lnTo>
                    <a:pt x="1752" y="352"/>
                  </a:lnTo>
                  <a:lnTo>
                    <a:pt x="1704" y="350"/>
                  </a:lnTo>
                  <a:lnTo>
                    <a:pt x="1704" y="350"/>
                  </a:lnTo>
                  <a:lnTo>
                    <a:pt x="1672" y="352"/>
                  </a:lnTo>
                  <a:lnTo>
                    <a:pt x="1638" y="354"/>
                  </a:lnTo>
                  <a:lnTo>
                    <a:pt x="1606" y="360"/>
                  </a:lnTo>
                  <a:lnTo>
                    <a:pt x="1574" y="370"/>
                  </a:lnTo>
                  <a:lnTo>
                    <a:pt x="1542" y="380"/>
                  </a:lnTo>
                  <a:lnTo>
                    <a:pt x="1512" y="392"/>
                  </a:lnTo>
                  <a:lnTo>
                    <a:pt x="1482" y="408"/>
                  </a:lnTo>
                  <a:lnTo>
                    <a:pt x="1454" y="426"/>
                  </a:lnTo>
                  <a:lnTo>
                    <a:pt x="1454" y="426"/>
                  </a:lnTo>
                  <a:lnTo>
                    <a:pt x="1442" y="430"/>
                  </a:lnTo>
                  <a:lnTo>
                    <a:pt x="1430" y="434"/>
                  </a:lnTo>
                  <a:lnTo>
                    <a:pt x="1418" y="432"/>
                  </a:lnTo>
                  <a:lnTo>
                    <a:pt x="1408" y="430"/>
                  </a:lnTo>
                  <a:lnTo>
                    <a:pt x="1408" y="430"/>
                  </a:lnTo>
                  <a:lnTo>
                    <a:pt x="1398" y="424"/>
                  </a:lnTo>
                  <a:lnTo>
                    <a:pt x="1388" y="416"/>
                  </a:lnTo>
                  <a:lnTo>
                    <a:pt x="1382" y="406"/>
                  </a:lnTo>
                  <a:lnTo>
                    <a:pt x="1380" y="394"/>
                  </a:lnTo>
                  <a:lnTo>
                    <a:pt x="1380" y="394"/>
                  </a:lnTo>
                  <a:lnTo>
                    <a:pt x="1372" y="358"/>
                  </a:lnTo>
                  <a:lnTo>
                    <a:pt x="1362" y="322"/>
                  </a:lnTo>
                  <a:lnTo>
                    <a:pt x="1348" y="288"/>
                  </a:lnTo>
                  <a:lnTo>
                    <a:pt x="1332" y="256"/>
                  </a:lnTo>
                  <a:lnTo>
                    <a:pt x="1314" y="224"/>
                  </a:lnTo>
                  <a:lnTo>
                    <a:pt x="1294" y="194"/>
                  </a:lnTo>
                  <a:lnTo>
                    <a:pt x="1272" y="166"/>
                  </a:lnTo>
                  <a:lnTo>
                    <a:pt x="1246" y="138"/>
                  </a:lnTo>
                  <a:lnTo>
                    <a:pt x="1246" y="542"/>
                  </a:lnTo>
                  <a:lnTo>
                    <a:pt x="1336" y="542"/>
                  </a:lnTo>
                  <a:lnTo>
                    <a:pt x="1336" y="542"/>
                  </a:lnTo>
                  <a:lnTo>
                    <a:pt x="1348" y="544"/>
                  </a:lnTo>
                  <a:lnTo>
                    <a:pt x="1360" y="548"/>
                  </a:lnTo>
                  <a:lnTo>
                    <a:pt x="1370" y="556"/>
                  </a:lnTo>
                  <a:lnTo>
                    <a:pt x="1378" y="566"/>
                  </a:lnTo>
                  <a:lnTo>
                    <a:pt x="1378" y="566"/>
                  </a:lnTo>
                  <a:lnTo>
                    <a:pt x="1382" y="578"/>
                  </a:lnTo>
                  <a:lnTo>
                    <a:pt x="1384" y="590"/>
                  </a:lnTo>
                  <a:lnTo>
                    <a:pt x="1382" y="602"/>
                  </a:lnTo>
                  <a:lnTo>
                    <a:pt x="1378" y="614"/>
                  </a:lnTo>
                  <a:lnTo>
                    <a:pt x="1124" y="1054"/>
                  </a:lnTo>
                  <a:lnTo>
                    <a:pt x="1124" y="1054"/>
                  </a:lnTo>
                  <a:lnTo>
                    <a:pt x="1116" y="1064"/>
                  </a:lnTo>
                  <a:lnTo>
                    <a:pt x="1106" y="1072"/>
                  </a:lnTo>
                  <a:lnTo>
                    <a:pt x="1106" y="1072"/>
                  </a:lnTo>
                  <a:lnTo>
                    <a:pt x="1094" y="1076"/>
                  </a:lnTo>
                  <a:lnTo>
                    <a:pt x="1082" y="1078"/>
                  </a:lnTo>
                  <a:lnTo>
                    <a:pt x="1082" y="1078"/>
                  </a:lnTo>
                  <a:lnTo>
                    <a:pt x="1068" y="1076"/>
                  </a:lnTo>
                  <a:lnTo>
                    <a:pt x="1058" y="1072"/>
                  </a:lnTo>
                  <a:lnTo>
                    <a:pt x="1048" y="1064"/>
                  </a:lnTo>
                  <a:lnTo>
                    <a:pt x="1040" y="1054"/>
                  </a:lnTo>
                  <a:lnTo>
                    <a:pt x="786" y="614"/>
                  </a:lnTo>
                  <a:lnTo>
                    <a:pt x="786" y="614"/>
                  </a:lnTo>
                  <a:lnTo>
                    <a:pt x="780" y="602"/>
                  </a:lnTo>
                  <a:lnTo>
                    <a:pt x="780" y="590"/>
                  </a:lnTo>
                  <a:lnTo>
                    <a:pt x="780" y="578"/>
                  </a:lnTo>
                  <a:lnTo>
                    <a:pt x="786" y="566"/>
                  </a:lnTo>
                  <a:lnTo>
                    <a:pt x="786" y="566"/>
                  </a:lnTo>
                  <a:lnTo>
                    <a:pt x="794" y="556"/>
                  </a:lnTo>
                  <a:lnTo>
                    <a:pt x="804" y="548"/>
                  </a:lnTo>
                  <a:lnTo>
                    <a:pt x="814" y="544"/>
                  </a:lnTo>
                  <a:lnTo>
                    <a:pt x="828" y="542"/>
                  </a:lnTo>
                  <a:lnTo>
                    <a:pt x="916" y="542"/>
                  </a:lnTo>
                  <a:lnTo>
                    <a:pt x="916" y="0"/>
                  </a:lnTo>
                  <a:lnTo>
                    <a:pt x="912" y="0"/>
                  </a:lnTo>
                  <a:lnTo>
                    <a:pt x="912" y="0"/>
                  </a:lnTo>
                  <a:lnTo>
                    <a:pt x="888" y="0"/>
                  </a:lnTo>
                  <a:lnTo>
                    <a:pt x="862" y="2"/>
                  </a:lnTo>
                  <a:lnTo>
                    <a:pt x="840" y="6"/>
                  </a:lnTo>
                  <a:lnTo>
                    <a:pt x="816" y="10"/>
                  </a:lnTo>
                  <a:lnTo>
                    <a:pt x="770" y="22"/>
                  </a:lnTo>
                  <a:lnTo>
                    <a:pt x="726" y="38"/>
                  </a:lnTo>
                  <a:lnTo>
                    <a:pt x="686" y="58"/>
                  </a:lnTo>
                  <a:lnTo>
                    <a:pt x="646" y="82"/>
                  </a:lnTo>
                  <a:lnTo>
                    <a:pt x="610" y="108"/>
                  </a:lnTo>
                  <a:lnTo>
                    <a:pt x="576" y="140"/>
                  </a:lnTo>
                  <a:lnTo>
                    <a:pt x="546" y="172"/>
                  </a:lnTo>
                  <a:lnTo>
                    <a:pt x="518" y="210"/>
                  </a:lnTo>
                  <a:lnTo>
                    <a:pt x="494" y="248"/>
                  </a:lnTo>
                  <a:lnTo>
                    <a:pt x="474" y="290"/>
                  </a:lnTo>
                  <a:lnTo>
                    <a:pt x="458" y="334"/>
                  </a:lnTo>
                  <a:lnTo>
                    <a:pt x="446" y="380"/>
                  </a:lnTo>
                  <a:lnTo>
                    <a:pt x="442" y="402"/>
                  </a:lnTo>
                  <a:lnTo>
                    <a:pt x="438" y="426"/>
                  </a:lnTo>
                  <a:lnTo>
                    <a:pt x="438" y="450"/>
                  </a:lnTo>
                  <a:lnTo>
                    <a:pt x="436" y="474"/>
                  </a:lnTo>
                  <a:lnTo>
                    <a:pt x="436" y="474"/>
                  </a:lnTo>
                  <a:lnTo>
                    <a:pt x="438" y="520"/>
                  </a:lnTo>
                  <a:lnTo>
                    <a:pt x="438" y="520"/>
                  </a:lnTo>
                  <a:lnTo>
                    <a:pt x="438" y="532"/>
                  </a:lnTo>
                  <a:lnTo>
                    <a:pt x="436" y="542"/>
                  </a:lnTo>
                  <a:lnTo>
                    <a:pt x="432" y="552"/>
                  </a:lnTo>
                  <a:lnTo>
                    <a:pt x="424" y="560"/>
                  </a:lnTo>
                  <a:lnTo>
                    <a:pt x="424" y="560"/>
                  </a:lnTo>
                  <a:lnTo>
                    <a:pt x="416" y="566"/>
                  </a:lnTo>
                  <a:lnTo>
                    <a:pt x="406" y="570"/>
                  </a:lnTo>
                  <a:lnTo>
                    <a:pt x="396" y="572"/>
                  </a:lnTo>
                  <a:lnTo>
                    <a:pt x="386" y="572"/>
                  </a:lnTo>
                  <a:lnTo>
                    <a:pt x="386" y="572"/>
                  </a:lnTo>
                  <a:lnTo>
                    <a:pt x="348" y="570"/>
                  </a:lnTo>
                  <a:lnTo>
                    <a:pt x="348" y="570"/>
                  </a:lnTo>
                  <a:lnTo>
                    <a:pt x="312" y="572"/>
                  </a:lnTo>
                  <a:lnTo>
                    <a:pt x="278" y="578"/>
                  </a:lnTo>
                  <a:lnTo>
                    <a:pt x="244" y="586"/>
                  </a:lnTo>
                  <a:lnTo>
                    <a:pt x="212" y="598"/>
                  </a:lnTo>
                  <a:lnTo>
                    <a:pt x="182" y="612"/>
                  </a:lnTo>
                  <a:lnTo>
                    <a:pt x="154" y="630"/>
                  </a:lnTo>
                  <a:lnTo>
                    <a:pt x="126" y="650"/>
                  </a:lnTo>
                  <a:lnTo>
                    <a:pt x="102" y="672"/>
                  </a:lnTo>
                  <a:lnTo>
                    <a:pt x="80" y="698"/>
                  </a:lnTo>
                  <a:lnTo>
                    <a:pt x="60" y="724"/>
                  </a:lnTo>
                  <a:lnTo>
                    <a:pt x="42" y="754"/>
                  </a:lnTo>
                  <a:lnTo>
                    <a:pt x="28" y="784"/>
                  </a:lnTo>
                  <a:lnTo>
                    <a:pt x="16" y="816"/>
                  </a:lnTo>
                  <a:lnTo>
                    <a:pt x="8" y="848"/>
                  </a:lnTo>
                  <a:lnTo>
                    <a:pt x="2" y="884"/>
                  </a:lnTo>
                  <a:lnTo>
                    <a:pt x="0" y="918"/>
                  </a:lnTo>
                  <a:lnTo>
                    <a:pt x="0" y="918"/>
                  </a:lnTo>
                  <a:lnTo>
                    <a:pt x="2" y="954"/>
                  </a:lnTo>
                  <a:lnTo>
                    <a:pt x="8" y="988"/>
                  </a:lnTo>
                  <a:lnTo>
                    <a:pt x="16" y="1022"/>
                  </a:lnTo>
                  <a:lnTo>
                    <a:pt x="28" y="1054"/>
                  </a:lnTo>
                  <a:lnTo>
                    <a:pt x="42" y="1084"/>
                  </a:lnTo>
                  <a:lnTo>
                    <a:pt x="60" y="1114"/>
                  </a:lnTo>
                  <a:lnTo>
                    <a:pt x="80" y="1140"/>
                  </a:lnTo>
                  <a:lnTo>
                    <a:pt x="102" y="1164"/>
                  </a:lnTo>
                  <a:lnTo>
                    <a:pt x="126" y="1188"/>
                  </a:lnTo>
                  <a:lnTo>
                    <a:pt x="154" y="1208"/>
                  </a:lnTo>
                  <a:lnTo>
                    <a:pt x="182" y="1224"/>
                  </a:lnTo>
                  <a:lnTo>
                    <a:pt x="212" y="1240"/>
                  </a:lnTo>
                  <a:lnTo>
                    <a:pt x="244" y="1252"/>
                  </a:lnTo>
                  <a:lnTo>
                    <a:pt x="278" y="1260"/>
                  </a:lnTo>
                  <a:lnTo>
                    <a:pt x="312" y="1264"/>
                  </a:lnTo>
                  <a:lnTo>
                    <a:pt x="348" y="1266"/>
                  </a:lnTo>
                  <a:lnTo>
                    <a:pt x="732" y="1266"/>
                  </a:lnTo>
                  <a:lnTo>
                    <a:pt x="732" y="1266"/>
                  </a:lnTo>
                  <a:lnTo>
                    <a:pt x="752" y="1248"/>
                  </a:lnTo>
                  <a:lnTo>
                    <a:pt x="772" y="1230"/>
                  </a:lnTo>
                  <a:lnTo>
                    <a:pt x="792" y="1214"/>
                  </a:lnTo>
                  <a:lnTo>
                    <a:pt x="814" y="1198"/>
                  </a:lnTo>
                  <a:lnTo>
                    <a:pt x="836" y="1184"/>
                  </a:lnTo>
                  <a:lnTo>
                    <a:pt x="860" y="1170"/>
                  </a:lnTo>
                  <a:lnTo>
                    <a:pt x="884" y="1158"/>
                  </a:lnTo>
                  <a:lnTo>
                    <a:pt x="908" y="1146"/>
                  </a:lnTo>
                  <a:lnTo>
                    <a:pt x="934" y="1136"/>
                  </a:lnTo>
                  <a:lnTo>
                    <a:pt x="960" y="1128"/>
                  </a:lnTo>
                  <a:lnTo>
                    <a:pt x="986" y="1120"/>
                  </a:lnTo>
                  <a:lnTo>
                    <a:pt x="1012" y="1114"/>
                  </a:lnTo>
                  <a:lnTo>
                    <a:pt x="1040" y="1110"/>
                  </a:lnTo>
                  <a:lnTo>
                    <a:pt x="1068" y="1106"/>
                  </a:lnTo>
                  <a:lnTo>
                    <a:pt x="1096" y="1104"/>
                  </a:lnTo>
                  <a:lnTo>
                    <a:pt x="1124" y="1102"/>
                  </a:lnTo>
                  <a:lnTo>
                    <a:pt x="1124" y="1102"/>
                  </a:lnTo>
                  <a:lnTo>
                    <a:pt x="1158" y="1104"/>
                  </a:lnTo>
                  <a:lnTo>
                    <a:pt x="1188" y="1106"/>
                  </a:lnTo>
                  <a:lnTo>
                    <a:pt x="1220" y="1112"/>
                  </a:lnTo>
                  <a:lnTo>
                    <a:pt x="1252" y="1118"/>
                  </a:lnTo>
                  <a:lnTo>
                    <a:pt x="1282" y="1126"/>
                  </a:lnTo>
                  <a:lnTo>
                    <a:pt x="1312" y="1136"/>
                  </a:lnTo>
                  <a:lnTo>
                    <a:pt x="1342" y="1148"/>
                  </a:lnTo>
                  <a:lnTo>
                    <a:pt x="1372" y="1160"/>
                  </a:lnTo>
                  <a:lnTo>
                    <a:pt x="1372" y="1160"/>
                  </a:lnTo>
                  <a:lnTo>
                    <a:pt x="1386" y="1116"/>
                  </a:lnTo>
                  <a:lnTo>
                    <a:pt x="1404" y="1074"/>
                  </a:lnTo>
                  <a:lnTo>
                    <a:pt x="1426" y="1034"/>
                  </a:lnTo>
                  <a:lnTo>
                    <a:pt x="1450" y="996"/>
                  </a:lnTo>
                  <a:lnTo>
                    <a:pt x="1478" y="960"/>
                  </a:lnTo>
                  <a:lnTo>
                    <a:pt x="1508" y="926"/>
                  </a:lnTo>
                  <a:lnTo>
                    <a:pt x="1540" y="894"/>
                  </a:lnTo>
                  <a:lnTo>
                    <a:pt x="1576" y="866"/>
                  </a:lnTo>
                  <a:lnTo>
                    <a:pt x="1612" y="842"/>
                  </a:lnTo>
                  <a:lnTo>
                    <a:pt x="1652" y="818"/>
                  </a:lnTo>
                  <a:lnTo>
                    <a:pt x="1692" y="798"/>
                  </a:lnTo>
                  <a:lnTo>
                    <a:pt x="1734" y="782"/>
                  </a:lnTo>
                  <a:lnTo>
                    <a:pt x="1778" y="770"/>
                  </a:lnTo>
                  <a:lnTo>
                    <a:pt x="1824" y="760"/>
                  </a:lnTo>
                  <a:lnTo>
                    <a:pt x="1870" y="754"/>
                  </a:lnTo>
                  <a:lnTo>
                    <a:pt x="1918" y="752"/>
                  </a:lnTo>
                  <a:lnTo>
                    <a:pt x="1918" y="752"/>
                  </a:lnTo>
                </a:path>
              </a:pathLst>
            </a:custGeom>
            <a:noFill/>
            <a:ln w="9525">
              <a:noFill/>
              <a:round/>
              <a:headEnd/>
              <a:tailEnd/>
            </a:ln>
            <a:extLst>
              <a:ext uri="{909E8E84-426E-40DD-AFC4-6F175D3DCCD1}">
                <a14:hiddenFill xmlns:a14="http://schemas.microsoft.com/office/drawing/2010/main">
                  <a:solidFill>
                    <a:srgbClr val="FFFFFF"/>
                  </a:solidFill>
                </a14:hiddenFill>
              </a:ext>
            </a:extLst>
          </p:spPr>
          <p:txBody>
            <a:bodyPr vert="horz" wrap="square" lIns="91440" tIns="45721" rIns="91440" bIns="45721" numCol="1" anchor="t" anchorCtr="0" compatLnSpc="1">
              <a:prstTxWarp prst="textNoShape">
                <a:avLst/>
              </a:prstTxWarp>
            </a:bodyPr>
            <a:lstStyle/>
            <a:p>
              <a:endParaRPr lang="en-US" sz="1801"/>
            </a:p>
          </p:txBody>
        </p:sp>
        <p:sp>
          <p:nvSpPr>
            <p:cNvPr id="88" name="Line 114"/>
            <p:cNvSpPr>
              <a:spLocks noChangeShapeType="1"/>
            </p:cNvSpPr>
            <p:nvPr/>
          </p:nvSpPr>
          <p:spPr bwMode="auto">
            <a:xfrm>
              <a:off x="8951913" y="3984625"/>
              <a:ext cx="0" cy="0"/>
            </a:xfrm>
            <a:prstGeom prst="line">
              <a:avLst/>
            </a:prstGeom>
            <a:noFill/>
            <a:ln w="9525">
              <a:noFill/>
              <a:round/>
              <a:headEnd/>
              <a:tailEnd/>
            </a:ln>
            <a:extLst>
              <a:ext uri="{909E8E84-426E-40DD-AFC4-6F175D3DCCD1}">
                <a14:hiddenFill xmlns:a14="http://schemas.microsoft.com/office/drawing/2010/main">
                  <a:noFill/>
                </a14:hiddenFill>
              </a:ext>
            </a:extLst>
          </p:spPr>
          <p:txBody>
            <a:bodyPr vert="horz" wrap="square" lIns="91440" tIns="45721" rIns="91440" bIns="45721" numCol="1" anchor="t" anchorCtr="0" compatLnSpc="1">
              <a:prstTxWarp prst="textNoShape">
                <a:avLst/>
              </a:prstTxWarp>
            </a:bodyPr>
            <a:lstStyle/>
            <a:p>
              <a:endParaRPr lang="en-US" sz="1801"/>
            </a:p>
          </p:txBody>
        </p:sp>
        <p:sp>
          <p:nvSpPr>
            <p:cNvPr id="89" name="Freeform 115"/>
            <p:cNvSpPr>
              <a:spLocks noEditPoints="1"/>
            </p:cNvSpPr>
            <p:nvPr/>
          </p:nvSpPr>
          <p:spPr bwMode="auto">
            <a:xfrm>
              <a:off x="6964363" y="4137025"/>
              <a:ext cx="3435350" cy="2012950"/>
            </a:xfrm>
            <a:custGeom>
              <a:avLst/>
              <a:gdLst>
                <a:gd name="T0" fmla="*/ 1852 w 2164"/>
                <a:gd name="T1" fmla="*/ 574 h 1268"/>
                <a:gd name="T2" fmla="*/ 1952 w 2164"/>
                <a:gd name="T3" fmla="*/ 600 h 1268"/>
                <a:gd name="T4" fmla="*/ 2036 w 2164"/>
                <a:gd name="T5" fmla="*/ 652 h 1268"/>
                <a:gd name="T6" fmla="*/ 2104 w 2164"/>
                <a:gd name="T7" fmla="*/ 726 h 1268"/>
                <a:gd name="T8" fmla="*/ 2148 w 2164"/>
                <a:gd name="T9" fmla="*/ 816 h 1268"/>
                <a:gd name="T10" fmla="*/ 2164 w 2164"/>
                <a:gd name="T11" fmla="*/ 920 h 1268"/>
                <a:gd name="T12" fmla="*/ 2156 w 2164"/>
                <a:gd name="T13" fmla="*/ 990 h 1268"/>
                <a:gd name="T14" fmla="*/ 2122 w 2164"/>
                <a:gd name="T15" fmla="*/ 1086 h 1268"/>
                <a:gd name="T16" fmla="*/ 2062 w 2164"/>
                <a:gd name="T17" fmla="*/ 1166 h 1268"/>
                <a:gd name="T18" fmla="*/ 1982 w 2164"/>
                <a:gd name="T19" fmla="*/ 1226 h 1268"/>
                <a:gd name="T20" fmla="*/ 1886 w 2164"/>
                <a:gd name="T21" fmla="*/ 1260 h 1268"/>
                <a:gd name="T22" fmla="*/ 1248 w 2164"/>
                <a:gd name="T23" fmla="*/ 1268 h 1268"/>
                <a:gd name="T24" fmla="*/ 1336 w 2164"/>
                <a:gd name="T25" fmla="*/ 786 h 1268"/>
                <a:gd name="T26" fmla="*/ 1370 w 2164"/>
                <a:gd name="T27" fmla="*/ 772 h 1268"/>
                <a:gd name="T28" fmla="*/ 1382 w 2164"/>
                <a:gd name="T29" fmla="*/ 750 h 1268"/>
                <a:gd name="T30" fmla="*/ 1378 w 2164"/>
                <a:gd name="T31" fmla="*/ 714 h 1268"/>
                <a:gd name="T32" fmla="*/ 1116 w 2164"/>
                <a:gd name="T33" fmla="*/ 264 h 1268"/>
                <a:gd name="T34" fmla="*/ 1082 w 2164"/>
                <a:gd name="T35" fmla="*/ 250 h 1268"/>
                <a:gd name="T36" fmla="*/ 1058 w 2164"/>
                <a:gd name="T37" fmla="*/ 256 h 1268"/>
                <a:gd name="T38" fmla="*/ 786 w 2164"/>
                <a:gd name="T39" fmla="*/ 714 h 1268"/>
                <a:gd name="T40" fmla="*/ 780 w 2164"/>
                <a:gd name="T41" fmla="*/ 738 h 1268"/>
                <a:gd name="T42" fmla="*/ 786 w 2164"/>
                <a:gd name="T43" fmla="*/ 762 h 1268"/>
                <a:gd name="T44" fmla="*/ 816 w 2164"/>
                <a:gd name="T45" fmla="*/ 784 h 1268"/>
                <a:gd name="T46" fmla="*/ 918 w 2164"/>
                <a:gd name="T47" fmla="*/ 1268 h 1268"/>
                <a:gd name="T48" fmla="*/ 412 w 2164"/>
                <a:gd name="T49" fmla="*/ 1266 h 1268"/>
                <a:gd name="T50" fmla="*/ 280 w 2164"/>
                <a:gd name="T51" fmla="*/ 1232 h 1268"/>
                <a:gd name="T52" fmla="*/ 168 w 2164"/>
                <a:gd name="T53" fmla="*/ 1162 h 1268"/>
                <a:gd name="T54" fmla="*/ 78 w 2164"/>
                <a:gd name="T55" fmla="*/ 1066 h 1268"/>
                <a:gd name="T56" fmla="*/ 22 w 2164"/>
                <a:gd name="T57" fmla="*/ 946 h 1268"/>
                <a:gd name="T58" fmla="*/ 0 w 2164"/>
                <a:gd name="T59" fmla="*/ 810 h 1268"/>
                <a:gd name="T60" fmla="*/ 10 w 2164"/>
                <a:gd name="T61" fmla="*/ 716 h 1268"/>
                <a:gd name="T62" fmla="*/ 56 w 2164"/>
                <a:gd name="T63" fmla="*/ 590 h 1268"/>
                <a:gd name="T64" fmla="*/ 134 w 2164"/>
                <a:gd name="T65" fmla="*/ 486 h 1268"/>
                <a:gd name="T66" fmla="*/ 240 w 2164"/>
                <a:gd name="T67" fmla="*/ 406 h 1268"/>
                <a:gd name="T68" fmla="*/ 366 w 2164"/>
                <a:gd name="T69" fmla="*/ 360 h 1268"/>
                <a:gd name="T70" fmla="*/ 458 w 2164"/>
                <a:gd name="T71" fmla="*/ 350 h 1268"/>
                <a:gd name="T72" fmla="*/ 558 w 2164"/>
                <a:gd name="T73" fmla="*/ 362 h 1268"/>
                <a:gd name="T74" fmla="*/ 652 w 2164"/>
                <a:gd name="T75" fmla="*/ 394 h 1268"/>
                <a:gd name="T76" fmla="*/ 710 w 2164"/>
                <a:gd name="T77" fmla="*/ 426 h 1268"/>
                <a:gd name="T78" fmla="*/ 744 w 2164"/>
                <a:gd name="T79" fmla="*/ 434 h 1268"/>
                <a:gd name="T80" fmla="*/ 766 w 2164"/>
                <a:gd name="T81" fmla="*/ 424 h 1268"/>
                <a:gd name="T82" fmla="*/ 784 w 2164"/>
                <a:gd name="T83" fmla="*/ 394 h 1268"/>
                <a:gd name="T84" fmla="*/ 806 w 2164"/>
                <a:gd name="T85" fmla="*/ 312 h 1268"/>
                <a:gd name="T86" fmla="*/ 864 w 2164"/>
                <a:gd name="T87" fmla="*/ 202 h 1268"/>
                <a:gd name="T88" fmla="*/ 946 w 2164"/>
                <a:gd name="T89" fmla="*/ 112 h 1268"/>
                <a:gd name="T90" fmla="*/ 1050 w 2164"/>
                <a:gd name="T91" fmla="*/ 46 h 1268"/>
                <a:gd name="T92" fmla="*/ 1168 w 2164"/>
                <a:gd name="T93" fmla="*/ 8 h 1268"/>
                <a:gd name="T94" fmla="*/ 1252 w 2164"/>
                <a:gd name="T95" fmla="*/ 0 h 1268"/>
                <a:gd name="T96" fmla="*/ 1324 w 2164"/>
                <a:gd name="T97" fmla="*/ 6 h 1268"/>
                <a:gd name="T98" fmla="*/ 1436 w 2164"/>
                <a:gd name="T99" fmla="*/ 38 h 1268"/>
                <a:gd name="T100" fmla="*/ 1554 w 2164"/>
                <a:gd name="T101" fmla="*/ 110 h 1268"/>
                <a:gd name="T102" fmla="*/ 1646 w 2164"/>
                <a:gd name="T103" fmla="*/ 210 h 1268"/>
                <a:gd name="T104" fmla="*/ 1706 w 2164"/>
                <a:gd name="T105" fmla="*/ 334 h 1268"/>
                <a:gd name="T106" fmla="*/ 1724 w 2164"/>
                <a:gd name="T107" fmla="*/ 428 h 1268"/>
                <a:gd name="T108" fmla="*/ 1728 w 2164"/>
                <a:gd name="T109" fmla="*/ 476 h 1268"/>
                <a:gd name="T110" fmla="*/ 1726 w 2164"/>
                <a:gd name="T111" fmla="*/ 532 h 1268"/>
                <a:gd name="T112" fmla="*/ 1740 w 2164"/>
                <a:gd name="T113" fmla="*/ 560 h 1268"/>
                <a:gd name="T114" fmla="*/ 1756 w 2164"/>
                <a:gd name="T115" fmla="*/ 572 h 1268"/>
                <a:gd name="T116" fmla="*/ 1778 w 2164"/>
                <a:gd name="T117" fmla="*/ 574 h 1268"/>
                <a:gd name="T118" fmla="*/ 1816 w 2164"/>
                <a:gd name="T119" fmla="*/ 572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64" h="1268">
                  <a:moveTo>
                    <a:pt x="1816" y="572"/>
                  </a:moveTo>
                  <a:lnTo>
                    <a:pt x="1816" y="572"/>
                  </a:lnTo>
                  <a:lnTo>
                    <a:pt x="1852" y="574"/>
                  </a:lnTo>
                  <a:lnTo>
                    <a:pt x="1886" y="578"/>
                  </a:lnTo>
                  <a:lnTo>
                    <a:pt x="1920" y="588"/>
                  </a:lnTo>
                  <a:lnTo>
                    <a:pt x="1952" y="600"/>
                  </a:lnTo>
                  <a:lnTo>
                    <a:pt x="1982" y="614"/>
                  </a:lnTo>
                  <a:lnTo>
                    <a:pt x="2010" y="632"/>
                  </a:lnTo>
                  <a:lnTo>
                    <a:pt x="2036" y="652"/>
                  </a:lnTo>
                  <a:lnTo>
                    <a:pt x="2062" y="674"/>
                  </a:lnTo>
                  <a:lnTo>
                    <a:pt x="2084" y="698"/>
                  </a:lnTo>
                  <a:lnTo>
                    <a:pt x="2104" y="726"/>
                  </a:lnTo>
                  <a:lnTo>
                    <a:pt x="2122" y="754"/>
                  </a:lnTo>
                  <a:lnTo>
                    <a:pt x="2136" y="784"/>
                  </a:lnTo>
                  <a:lnTo>
                    <a:pt x="2148" y="816"/>
                  </a:lnTo>
                  <a:lnTo>
                    <a:pt x="2156" y="850"/>
                  </a:lnTo>
                  <a:lnTo>
                    <a:pt x="2162" y="884"/>
                  </a:lnTo>
                  <a:lnTo>
                    <a:pt x="2164" y="920"/>
                  </a:lnTo>
                  <a:lnTo>
                    <a:pt x="2164" y="920"/>
                  </a:lnTo>
                  <a:lnTo>
                    <a:pt x="2162" y="956"/>
                  </a:lnTo>
                  <a:lnTo>
                    <a:pt x="2156" y="990"/>
                  </a:lnTo>
                  <a:lnTo>
                    <a:pt x="2148" y="1022"/>
                  </a:lnTo>
                  <a:lnTo>
                    <a:pt x="2136" y="1054"/>
                  </a:lnTo>
                  <a:lnTo>
                    <a:pt x="2122" y="1086"/>
                  </a:lnTo>
                  <a:lnTo>
                    <a:pt x="2104" y="1114"/>
                  </a:lnTo>
                  <a:lnTo>
                    <a:pt x="2084" y="1140"/>
                  </a:lnTo>
                  <a:lnTo>
                    <a:pt x="2062" y="1166"/>
                  </a:lnTo>
                  <a:lnTo>
                    <a:pt x="2036" y="1188"/>
                  </a:lnTo>
                  <a:lnTo>
                    <a:pt x="2010" y="1208"/>
                  </a:lnTo>
                  <a:lnTo>
                    <a:pt x="1982" y="1226"/>
                  </a:lnTo>
                  <a:lnTo>
                    <a:pt x="1952" y="1240"/>
                  </a:lnTo>
                  <a:lnTo>
                    <a:pt x="1920" y="1252"/>
                  </a:lnTo>
                  <a:lnTo>
                    <a:pt x="1886" y="1260"/>
                  </a:lnTo>
                  <a:lnTo>
                    <a:pt x="1852" y="1266"/>
                  </a:lnTo>
                  <a:lnTo>
                    <a:pt x="1816" y="1268"/>
                  </a:lnTo>
                  <a:lnTo>
                    <a:pt x="1248" y="1268"/>
                  </a:lnTo>
                  <a:lnTo>
                    <a:pt x="1248" y="786"/>
                  </a:lnTo>
                  <a:lnTo>
                    <a:pt x="1336" y="786"/>
                  </a:lnTo>
                  <a:lnTo>
                    <a:pt x="1336" y="786"/>
                  </a:lnTo>
                  <a:lnTo>
                    <a:pt x="1350" y="784"/>
                  </a:lnTo>
                  <a:lnTo>
                    <a:pt x="1360" y="780"/>
                  </a:lnTo>
                  <a:lnTo>
                    <a:pt x="1370" y="772"/>
                  </a:lnTo>
                  <a:lnTo>
                    <a:pt x="1378" y="762"/>
                  </a:lnTo>
                  <a:lnTo>
                    <a:pt x="1378" y="762"/>
                  </a:lnTo>
                  <a:lnTo>
                    <a:pt x="1382" y="750"/>
                  </a:lnTo>
                  <a:lnTo>
                    <a:pt x="1384" y="738"/>
                  </a:lnTo>
                  <a:lnTo>
                    <a:pt x="1382" y="726"/>
                  </a:lnTo>
                  <a:lnTo>
                    <a:pt x="1378" y="714"/>
                  </a:lnTo>
                  <a:lnTo>
                    <a:pt x="1124" y="274"/>
                  </a:lnTo>
                  <a:lnTo>
                    <a:pt x="1124" y="274"/>
                  </a:lnTo>
                  <a:lnTo>
                    <a:pt x="1116" y="264"/>
                  </a:lnTo>
                  <a:lnTo>
                    <a:pt x="1106" y="256"/>
                  </a:lnTo>
                  <a:lnTo>
                    <a:pt x="1094" y="250"/>
                  </a:lnTo>
                  <a:lnTo>
                    <a:pt x="1082" y="250"/>
                  </a:lnTo>
                  <a:lnTo>
                    <a:pt x="1082" y="250"/>
                  </a:lnTo>
                  <a:lnTo>
                    <a:pt x="1070" y="250"/>
                  </a:lnTo>
                  <a:lnTo>
                    <a:pt x="1058" y="256"/>
                  </a:lnTo>
                  <a:lnTo>
                    <a:pt x="1048" y="264"/>
                  </a:lnTo>
                  <a:lnTo>
                    <a:pt x="1040" y="274"/>
                  </a:lnTo>
                  <a:lnTo>
                    <a:pt x="786" y="714"/>
                  </a:lnTo>
                  <a:lnTo>
                    <a:pt x="786" y="714"/>
                  </a:lnTo>
                  <a:lnTo>
                    <a:pt x="782" y="726"/>
                  </a:lnTo>
                  <a:lnTo>
                    <a:pt x="780" y="738"/>
                  </a:lnTo>
                  <a:lnTo>
                    <a:pt x="782" y="750"/>
                  </a:lnTo>
                  <a:lnTo>
                    <a:pt x="786" y="762"/>
                  </a:lnTo>
                  <a:lnTo>
                    <a:pt x="786" y="762"/>
                  </a:lnTo>
                  <a:lnTo>
                    <a:pt x="794" y="772"/>
                  </a:lnTo>
                  <a:lnTo>
                    <a:pt x="804" y="780"/>
                  </a:lnTo>
                  <a:lnTo>
                    <a:pt x="816" y="784"/>
                  </a:lnTo>
                  <a:lnTo>
                    <a:pt x="828" y="786"/>
                  </a:lnTo>
                  <a:lnTo>
                    <a:pt x="918" y="786"/>
                  </a:lnTo>
                  <a:lnTo>
                    <a:pt x="918" y="1268"/>
                  </a:lnTo>
                  <a:lnTo>
                    <a:pt x="458" y="1268"/>
                  </a:lnTo>
                  <a:lnTo>
                    <a:pt x="458" y="1268"/>
                  </a:lnTo>
                  <a:lnTo>
                    <a:pt x="412" y="1266"/>
                  </a:lnTo>
                  <a:lnTo>
                    <a:pt x="366" y="1258"/>
                  </a:lnTo>
                  <a:lnTo>
                    <a:pt x="322" y="1246"/>
                  </a:lnTo>
                  <a:lnTo>
                    <a:pt x="280" y="1232"/>
                  </a:lnTo>
                  <a:lnTo>
                    <a:pt x="240" y="1212"/>
                  </a:lnTo>
                  <a:lnTo>
                    <a:pt x="202" y="1190"/>
                  </a:lnTo>
                  <a:lnTo>
                    <a:pt x="168" y="1162"/>
                  </a:lnTo>
                  <a:lnTo>
                    <a:pt x="134" y="1134"/>
                  </a:lnTo>
                  <a:lnTo>
                    <a:pt x="106" y="1100"/>
                  </a:lnTo>
                  <a:lnTo>
                    <a:pt x="78" y="1066"/>
                  </a:lnTo>
                  <a:lnTo>
                    <a:pt x="56" y="1028"/>
                  </a:lnTo>
                  <a:lnTo>
                    <a:pt x="36" y="988"/>
                  </a:lnTo>
                  <a:lnTo>
                    <a:pt x="22" y="946"/>
                  </a:lnTo>
                  <a:lnTo>
                    <a:pt x="10" y="902"/>
                  </a:lnTo>
                  <a:lnTo>
                    <a:pt x="2" y="856"/>
                  </a:lnTo>
                  <a:lnTo>
                    <a:pt x="0" y="810"/>
                  </a:lnTo>
                  <a:lnTo>
                    <a:pt x="0" y="810"/>
                  </a:lnTo>
                  <a:lnTo>
                    <a:pt x="2" y="762"/>
                  </a:lnTo>
                  <a:lnTo>
                    <a:pt x="10" y="716"/>
                  </a:lnTo>
                  <a:lnTo>
                    <a:pt x="22" y="674"/>
                  </a:lnTo>
                  <a:lnTo>
                    <a:pt x="36" y="630"/>
                  </a:lnTo>
                  <a:lnTo>
                    <a:pt x="56" y="590"/>
                  </a:lnTo>
                  <a:lnTo>
                    <a:pt x="78" y="554"/>
                  </a:lnTo>
                  <a:lnTo>
                    <a:pt x="106" y="518"/>
                  </a:lnTo>
                  <a:lnTo>
                    <a:pt x="134" y="486"/>
                  </a:lnTo>
                  <a:lnTo>
                    <a:pt x="168" y="456"/>
                  </a:lnTo>
                  <a:lnTo>
                    <a:pt x="202" y="430"/>
                  </a:lnTo>
                  <a:lnTo>
                    <a:pt x="240" y="406"/>
                  </a:lnTo>
                  <a:lnTo>
                    <a:pt x="280" y="386"/>
                  </a:lnTo>
                  <a:lnTo>
                    <a:pt x="322" y="372"/>
                  </a:lnTo>
                  <a:lnTo>
                    <a:pt x="366" y="360"/>
                  </a:lnTo>
                  <a:lnTo>
                    <a:pt x="412" y="354"/>
                  </a:lnTo>
                  <a:lnTo>
                    <a:pt x="458" y="350"/>
                  </a:lnTo>
                  <a:lnTo>
                    <a:pt x="458" y="350"/>
                  </a:lnTo>
                  <a:lnTo>
                    <a:pt x="492" y="352"/>
                  </a:lnTo>
                  <a:lnTo>
                    <a:pt x="526" y="356"/>
                  </a:lnTo>
                  <a:lnTo>
                    <a:pt x="558" y="362"/>
                  </a:lnTo>
                  <a:lnTo>
                    <a:pt x="590" y="370"/>
                  </a:lnTo>
                  <a:lnTo>
                    <a:pt x="622" y="380"/>
                  </a:lnTo>
                  <a:lnTo>
                    <a:pt x="652" y="394"/>
                  </a:lnTo>
                  <a:lnTo>
                    <a:pt x="682" y="408"/>
                  </a:lnTo>
                  <a:lnTo>
                    <a:pt x="710" y="426"/>
                  </a:lnTo>
                  <a:lnTo>
                    <a:pt x="710" y="426"/>
                  </a:lnTo>
                  <a:lnTo>
                    <a:pt x="722" y="432"/>
                  </a:lnTo>
                  <a:lnTo>
                    <a:pt x="732" y="434"/>
                  </a:lnTo>
                  <a:lnTo>
                    <a:pt x="744" y="434"/>
                  </a:lnTo>
                  <a:lnTo>
                    <a:pt x="756" y="430"/>
                  </a:lnTo>
                  <a:lnTo>
                    <a:pt x="756" y="430"/>
                  </a:lnTo>
                  <a:lnTo>
                    <a:pt x="766" y="424"/>
                  </a:lnTo>
                  <a:lnTo>
                    <a:pt x="774" y="416"/>
                  </a:lnTo>
                  <a:lnTo>
                    <a:pt x="780" y="406"/>
                  </a:lnTo>
                  <a:lnTo>
                    <a:pt x="784" y="394"/>
                  </a:lnTo>
                  <a:lnTo>
                    <a:pt x="784" y="394"/>
                  </a:lnTo>
                  <a:lnTo>
                    <a:pt x="794" y="352"/>
                  </a:lnTo>
                  <a:lnTo>
                    <a:pt x="806" y="312"/>
                  </a:lnTo>
                  <a:lnTo>
                    <a:pt x="822" y="274"/>
                  </a:lnTo>
                  <a:lnTo>
                    <a:pt x="842" y="236"/>
                  </a:lnTo>
                  <a:lnTo>
                    <a:pt x="864" y="202"/>
                  </a:lnTo>
                  <a:lnTo>
                    <a:pt x="888" y="170"/>
                  </a:lnTo>
                  <a:lnTo>
                    <a:pt x="916" y="140"/>
                  </a:lnTo>
                  <a:lnTo>
                    <a:pt x="946" y="112"/>
                  </a:lnTo>
                  <a:lnTo>
                    <a:pt x="978" y="88"/>
                  </a:lnTo>
                  <a:lnTo>
                    <a:pt x="1012" y="66"/>
                  </a:lnTo>
                  <a:lnTo>
                    <a:pt x="1050" y="46"/>
                  </a:lnTo>
                  <a:lnTo>
                    <a:pt x="1086" y="30"/>
                  </a:lnTo>
                  <a:lnTo>
                    <a:pt x="1126" y="18"/>
                  </a:lnTo>
                  <a:lnTo>
                    <a:pt x="1168" y="8"/>
                  </a:lnTo>
                  <a:lnTo>
                    <a:pt x="1210" y="2"/>
                  </a:lnTo>
                  <a:lnTo>
                    <a:pt x="1252" y="0"/>
                  </a:lnTo>
                  <a:lnTo>
                    <a:pt x="1252" y="0"/>
                  </a:lnTo>
                  <a:lnTo>
                    <a:pt x="1276" y="2"/>
                  </a:lnTo>
                  <a:lnTo>
                    <a:pt x="1300" y="4"/>
                  </a:lnTo>
                  <a:lnTo>
                    <a:pt x="1324" y="6"/>
                  </a:lnTo>
                  <a:lnTo>
                    <a:pt x="1348" y="10"/>
                  </a:lnTo>
                  <a:lnTo>
                    <a:pt x="1394" y="22"/>
                  </a:lnTo>
                  <a:lnTo>
                    <a:pt x="1436" y="38"/>
                  </a:lnTo>
                  <a:lnTo>
                    <a:pt x="1478" y="58"/>
                  </a:lnTo>
                  <a:lnTo>
                    <a:pt x="1518" y="82"/>
                  </a:lnTo>
                  <a:lnTo>
                    <a:pt x="1554" y="110"/>
                  </a:lnTo>
                  <a:lnTo>
                    <a:pt x="1588" y="140"/>
                  </a:lnTo>
                  <a:lnTo>
                    <a:pt x="1618" y="174"/>
                  </a:lnTo>
                  <a:lnTo>
                    <a:pt x="1646" y="210"/>
                  </a:lnTo>
                  <a:lnTo>
                    <a:pt x="1670" y="250"/>
                  </a:lnTo>
                  <a:lnTo>
                    <a:pt x="1690" y="290"/>
                  </a:lnTo>
                  <a:lnTo>
                    <a:pt x="1706" y="334"/>
                  </a:lnTo>
                  <a:lnTo>
                    <a:pt x="1718" y="380"/>
                  </a:lnTo>
                  <a:lnTo>
                    <a:pt x="1722" y="404"/>
                  </a:lnTo>
                  <a:lnTo>
                    <a:pt x="1724" y="428"/>
                  </a:lnTo>
                  <a:lnTo>
                    <a:pt x="1726" y="452"/>
                  </a:lnTo>
                  <a:lnTo>
                    <a:pt x="1728" y="476"/>
                  </a:lnTo>
                  <a:lnTo>
                    <a:pt x="1728" y="476"/>
                  </a:lnTo>
                  <a:lnTo>
                    <a:pt x="1724" y="522"/>
                  </a:lnTo>
                  <a:lnTo>
                    <a:pt x="1724" y="522"/>
                  </a:lnTo>
                  <a:lnTo>
                    <a:pt x="1726" y="532"/>
                  </a:lnTo>
                  <a:lnTo>
                    <a:pt x="1728" y="542"/>
                  </a:lnTo>
                  <a:lnTo>
                    <a:pt x="1732" y="552"/>
                  </a:lnTo>
                  <a:lnTo>
                    <a:pt x="1740" y="560"/>
                  </a:lnTo>
                  <a:lnTo>
                    <a:pt x="1740" y="560"/>
                  </a:lnTo>
                  <a:lnTo>
                    <a:pt x="1748" y="566"/>
                  </a:lnTo>
                  <a:lnTo>
                    <a:pt x="1756" y="572"/>
                  </a:lnTo>
                  <a:lnTo>
                    <a:pt x="1768" y="574"/>
                  </a:lnTo>
                  <a:lnTo>
                    <a:pt x="1778" y="574"/>
                  </a:lnTo>
                  <a:lnTo>
                    <a:pt x="1778" y="574"/>
                  </a:lnTo>
                  <a:lnTo>
                    <a:pt x="1816" y="572"/>
                  </a:lnTo>
                  <a:lnTo>
                    <a:pt x="1816" y="572"/>
                  </a:lnTo>
                  <a:close/>
                  <a:moveTo>
                    <a:pt x="1816" y="572"/>
                  </a:moveTo>
                  <a:lnTo>
                    <a:pt x="1816" y="572"/>
                  </a:lnTo>
                  <a:close/>
                </a:path>
              </a:pathLst>
            </a:custGeom>
            <a:solidFill>
              <a:srgbClr val="3DD0F2"/>
            </a:solidFill>
            <a:ln w="9525">
              <a:noFill/>
              <a:round/>
              <a:headEnd/>
              <a:tailEnd/>
            </a:ln>
          </p:spPr>
          <p:txBody>
            <a:bodyPr vert="horz" wrap="square" lIns="91440" tIns="45721" rIns="91440" bIns="45721" numCol="1" anchor="t" anchorCtr="0" compatLnSpc="1">
              <a:prstTxWarp prst="textNoShape">
                <a:avLst/>
              </a:prstTxWarp>
            </a:bodyPr>
            <a:lstStyle/>
            <a:p>
              <a:endParaRPr lang="en-US" sz="1801"/>
            </a:p>
          </p:txBody>
        </p:sp>
        <p:sp>
          <p:nvSpPr>
            <p:cNvPr id="90" name="Freeform 116"/>
            <p:cNvSpPr>
              <a:spLocks/>
            </p:cNvSpPr>
            <p:nvPr/>
          </p:nvSpPr>
          <p:spPr bwMode="auto">
            <a:xfrm>
              <a:off x="6964363" y="4137025"/>
              <a:ext cx="3435350" cy="2012950"/>
            </a:xfrm>
            <a:custGeom>
              <a:avLst/>
              <a:gdLst>
                <a:gd name="T0" fmla="*/ 1852 w 2164"/>
                <a:gd name="T1" fmla="*/ 574 h 1268"/>
                <a:gd name="T2" fmla="*/ 1952 w 2164"/>
                <a:gd name="T3" fmla="*/ 600 h 1268"/>
                <a:gd name="T4" fmla="*/ 2036 w 2164"/>
                <a:gd name="T5" fmla="*/ 652 h 1268"/>
                <a:gd name="T6" fmla="*/ 2104 w 2164"/>
                <a:gd name="T7" fmla="*/ 726 h 1268"/>
                <a:gd name="T8" fmla="*/ 2148 w 2164"/>
                <a:gd name="T9" fmla="*/ 816 h 1268"/>
                <a:gd name="T10" fmla="*/ 2164 w 2164"/>
                <a:gd name="T11" fmla="*/ 920 h 1268"/>
                <a:gd name="T12" fmla="*/ 2156 w 2164"/>
                <a:gd name="T13" fmla="*/ 990 h 1268"/>
                <a:gd name="T14" fmla="*/ 2122 w 2164"/>
                <a:gd name="T15" fmla="*/ 1086 h 1268"/>
                <a:gd name="T16" fmla="*/ 2062 w 2164"/>
                <a:gd name="T17" fmla="*/ 1166 h 1268"/>
                <a:gd name="T18" fmla="*/ 1982 w 2164"/>
                <a:gd name="T19" fmla="*/ 1226 h 1268"/>
                <a:gd name="T20" fmla="*/ 1886 w 2164"/>
                <a:gd name="T21" fmla="*/ 1260 h 1268"/>
                <a:gd name="T22" fmla="*/ 1248 w 2164"/>
                <a:gd name="T23" fmla="*/ 1268 h 1268"/>
                <a:gd name="T24" fmla="*/ 1336 w 2164"/>
                <a:gd name="T25" fmla="*/ 786 h 1268"/>
                <a:gd name="T26" fmla="*/ 1370 w 2164"/>
                <a:gd name="T27" fmla="*/ 772 h 1268"/>
                <a:gd name="T28" fmla="*/ 1382 w 2164"/>
                <a:gd name="T29" fmla="*/ 750 h 1268"/>
                <a:gd name="T30" fmla="*/ 1378 w 2164"/>
                <a:gd name="T31" fmla="*/ 714 h 1268"/>
                <a:gd name="T32" fmla="*/ 1116 w 2164"/>
                <a:gd name="T33" fmla="*/ 264 h 1268"/>
                <a:gd name="T34" fmla="*/ 1082 w 2164"/>
                <a:gd name="T35" fmla="*/ 250 h 1268"/>
                <a:gd name="T36" fmla="*/ 1058 w 2164"/>
                <a:gd name="T37" fmla="*/ 256 h 1268"/>
                <a:gd name="T38" fmla="*/ 786 w 2164"/>
                <a:gd name="T39" fmla="*/ 714 h 1268"/>
                <a:gd name="T40" fmla="*/ 780 w 2164"/>
                <a:gd name="T41" fmla="*/ 738 h 1268"/>
                <a:gd name="T42" fmla="*/ 786 w 2164"/>
                <a:gd name="T43" fmla="*/ 762 h 1268"/>
                <a:gd name="T44" fmla="*/ 816 w 2164"/>
                <a:gd name="T45" fmla="*/ 784 h 1268"/>
                <a:gd name="T46" fmla="*/ 918 w 2164"/>
                <a:gd name="T47" fmla="*/ 1268 h 1268"/>
                <a:gd name="T48" fmla="*/ 412 w 2164"/>
                <a:gd name="T49" fmla="*/ 1266 h 1268"/>
                <a:gd name="T50" fmla="*/ 280 w 2164"/>
                <a:gd name="T51" fmla="*/ 1232 h 1268"/>
                <a:gd name="T52" fmla="*/ 168 w 2164"/>
                <a:gd name="T53" fmla="*/ 1162 h 1268"/>
                <a:gd name="T54" fmla="*/ 78 w 2164"/>
                <a:gd name="T55" fmla="*/ 1066 h 1268"/>
                <a:gd name="T56" fmla="*/ 22 w 2164"/>
                <a:gd name="T57" fmla="*/ 946 h 1268"/>
                <a:gd name="T58" fmla="*/ 0 w 2164"/>
                <a:gd name="T59" fmla="*/ 810 h 1268"/>
                <a:gd name="T60" fmla="*/ 10 w 2164"/>
                <a:gd name="T61" fmla="*/ 716 h 1268"/>
                <a:gd name="T62" fmla="*/ 56 w 2164"/>
                <a:gd name="T63" fmla="*/ 590 h 1268"/>
                <a:gd name="T64" fmla="*/ 134 w 2164"/>
                <a:gd name="T65" fmla="*/ 486 h 1268"/>
                <a:gd name="T66" fmla="*/ 240 w 2164"/>
                <a:gd name="T67" fmla="*/ 406 h 1268"/>
                <a:gd name="T68" fmla="*/ 366 w 2164"/>
                <a:gd name="T69" fmla="*/ 360 h 1268"/>
                <a:gd name="T70" fmla="*/ 458 w 2164"/>
                <a:gd name="T71" fmla="*/ 350 h 1268"/>
                <a:gd name="T72" fmla="*/ 558 w 2164"/>
                <a:gd name="T73" fmla="*/ 362 h 1268"/>
                <a:gd name="T74" fmla="*/ 652 w 2164"/>
                <a:gd name="T75" fmla="*/ 394 h 1268"/>
                <a:gd name="T76" fmla="*/ 710 w 2164"/>
                <a:gd name="T77" fmla="*/ 426 h 1268"/>
                <a:gd name="T78" fmla="*/ 744 w 2164"/>
                <a:gd name="T79" fmla="*/ 434 h 1268"/>
                <a:gd name="T80" fmla="*/ 766 w 2164"/>
                <a:gd name="T81" fmla="*/ 424 h 1268"/>
                <a:gd name="T82" fmla="*/ 784 w 2164"/>
                <a:gd name="T83" fmla="*/ 394 h 1268"/>
                <a:gd name="T84" fmla="*/ 806 w 2164"/>
                <a:gd name="T85" fmla="*/ 312 h 1268"/>
                <a:gd name="T86" fmla="*/ 864 w 2164"/>
                <a:gd name="T87" fmla="*/ 202 h 1268"/>
                <a:gd name="T88" fmla="*/ 946 w 2164"/>
                <a:gd name="T89" fmla="*/ 112 h 1268"/>
                <a:gd name="T90" fmla="*/ 1050 w 2164"/>
                <a:gd name="T91" fmla="*/ 46 h 1268"/>
                <a:gd name="T92" fmla="*/ 1168 w 2164"/>
                <a:gd name="T93" fmla="*/ 8 h 1268"/>
                <a:gd name="T94" fmla="*/ 1252 w 2164"/>
                <a:gd name="T95" fmla="*/ 0 h 1268"/>
                <a:gd name="T96" fmla="*/ 1324 w 2164"/>
                <a:gd name="T97" fmla="*/ 6 h 1268"/>
                <a:gd name="T98" fmla="*/ 1436 w 2164"/>
                <a:gd name="T99" fmla="*/ 38 h 1268"/>
                <a:gd name="T100" fmla="*/ 1554 w 2164"/>
                <a:gd name="T101" fmla="*/ 110 h 1268"/>
                <a:gd name="T102" fmla="*/ 1646 w 2164"/>
                <a:gd name="T103" fmla="*/ 210 h 1268"/>
                <a:gd name="T104" fmla="*/ 1706 w 2164"/>
                <a:gd name="T105" fmla="*/ 334 h 1268"/>
                <a:gd name="T106" fmla="*/ 1724 w 2164"/>
                <a:gd name="T107" fmla="*/ 428 h 1268"/>
                <a:gd name="T108" fmla="*/ 1728 w 2164"/>
                <a:gd name="T109" fmla="*/ 476 h 1268"/>
                <a:gd name="T110" fmla="*/ 1726 w 2164"/>
                <a:gd name="T111" fmla="*/ 532 h 1268"/>
                <a:gd name="T112" fmla="*/ 1740 w 2164"/>
                <a:gd name="T113" fmla="*/ 560 h 1268"/>
                <a:gd name="T114" fmla="*/ 1756 w 2164"/>
                <a:gd name="T115" fmla="*/ 572 h 1268"/>
                <a:gd name="T116" fmla="*/ 1778 w 2164"/>
                <a:gd name="T117" fmla="*/ 574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64" h="1268">
                  <a:moveTo>
                    <a:pt x="1816" y="572"/>
                  </a:moveTo>
                  <a:lnTo>
                    <a:pt x="1816" y="572"/>
                  </a:lnTo>
                  <a:lnTo>
                    <a:pt x="1852" y="574"/>
                  </a:lnTo>
                  <a:lnTo>
                    <a:pt x="1886" y="578"/>
                  </a:lnTo>
                  <a:lnTo>
                    <a:pt x="1920" y="588"/>
                  </a:lnTo>
                  <a:lnTo>
                    <a:pt x="1952" y="600"/>
                  </a:lnTo>
                  <a:lnTo>
                    <a:pt x="1982" y="614"/>
                  </a:lnTo>
                  <a:lnTo>
                    <a:pt x="2010" y="632"/>
                  </a:lnTo>
                  <a:lnTo>
                    <a:pt x="2036" y="652"/>
                  </a:lnTo>
                  <a:lnTo>
                    <a:pt x="2062" y="674"/>
                  </a:lnTo>
                  <a:lnTo>
                    <a:pt x="2084" y="698"/>
                  </a:lnTo>
                  <a:lnTo>
                    <a:pt x="2104" y="726"/>
                  </a:lnTo>
                  <a:lnTo>
                    <a:pt x="2122" y="754"/>
                  </a:lnTo>
                  <a:lnTo>
                    <a:pt x="2136" y="784"/>
                  </a:lnTo>
                  <a:lnTo>
                    <a:pt x="2148" y="816"/>
                  </a:lnTo>
                  <a:lnTo>
                    <a:pt x="2156" y="850"/>
                  </a:lnTo>
                  <a:lnTo>
                    <a:pt x="2162" y="884"/>
                  </a:lnTo>
                  <a:lnTo>
                    <a:pt x="2164" y="920"/>
                  </a:lnTo>
                  <a:lnTo>
                    <a:pt x="2164" y="920"/>
                  </a:lnTo>
                  <a:lnTo>
                    <a:pt x="2162" y="956"/>
                  </a:lnTo>
                  <a:lnTo>
                    <a:pt x="2156" y="990"/>
                  </a:lnTo>
                  <a:lnTo>
                    <a:pt x="2148" y="1022"/>
                  </a:lnTo>
                  <a:lnTo>
                    <a:pt x="2136" y="1054"/>
                  </a:lnTo>
                  <a:lnTo>
                    <a:pt x="2122" y="1086"/>
                  </a:lnTo>
                  <a:lnTo>
                    <a:pt x="2104" y="1114"/>
                  </a:lnTo>
                  <a:lnTo>
                    <a:pt x="2084" y="1140"/>
                  </a:lnTo>
                  <a:lnTo>
                    <a:pt x="2062" y="1166"/>
                  </a:lnTo>
                  <a:lnTo>
                    <a:pt x="2036" y="1188"/>
                  </a:lnTo>
                  <a:lnTo>
                    <a:pt x="2010" y="1208"/>
                  </a:lnTo>
                  <a:lnTo>
                    <a:pt x="1982" y="1226"/>
                  </a:lnTo>
                  <a:lnTo>
                    <a:pt x="1952" y="1240"/>
                  </a:lnTo>
                  <a:lnTo>
                    <a:pt x="1920" y="1252"/>
                  </a:lnTo>
                  <a:lnTo>
                    <a:pt x="1886" y="1260"/>
                  </a:lnTo>
                  <a:lnTo>
                    <a:pt x="1852" y="1266"/>
                  </a:lnTo>
                  <a:lnTo>
                    <a:pt x="1816" y="1268"/>
                  </a:lnTo>
                  <a:lnTo>
                    <a:pt x="1248" y="1268"/>
                  </a:lnTo>
                  <a:lnTo>
                    <a:pt x="1248" y="786"/>
                  </a:lnTo>
                  <a:lnTo>
                    <a:pt x="1336" y="786"/>
                  </a:lnTo>
                  <a:lnTo>
                    <a:pt x="1336" y="786"/>
                  </a:lnTo>
                  <a:lnTo>
                    <a:pt x="1350" y="784"/>
                  </a:lnTo>
                  <a:lnTo>
                    <a:pt x="1360" y="780"/>
                  </a:lnTo>
                  <a:lnTo>
                    <a:pt x="1370" y="772"/>
                  </a:lnTo>
                  <a:lnTo>
                    <a:pt x="1378" y="762"/>
                  </a:lnTo>
                  <a:lnTo>
                    <a:pt x="1378" y="762"/>
                  </a:lnTo>
                  <a:lnTo>
                    <a:pt x="1382" y="750"/>
                  </a:lnTo>
                  <a:lnTo>
                    <a:pt x="1384" y="738"/>
                  </a:lnTo>
                  <a:lnTo>
                    <a:pt x="1382" y="726"/>
                  </a:lnTo>
                  <a:lnTo>
                    <a:pt x="1378" y="714"/>
                  </a:lnTo>
                  <a:lnTo>
                    <a:pt x="1124" y="274"/>
                  </a:lnTo>
                  <a:lnTo>
                    <a:pt x="1124" y="274"/>
                  </a:lnTo>
                  <a:lnTo>
                    <a:pt x="1116" y="264"/>
                  </a:lnTo>
                  <a:lnTo>
                    <a:pt x="1106" y="256"/>
                  </a:lnTo>
                  <a:lnTo>
                    <a:pt x="1094" y="250"/>
                  </a:lnTo>
                  <a:lnTo>
                    <a:pt x="1082" y="250"/>
                  </a:lnTo>
                  <a:lnTo>
                    <a:pt x="1082" y="250"/>
                  </a:lnTo>
                  <a:lnTo>
                    <a:pt x="1070" y="250"/>
                  </a:lnTo>
                  <a:lnTo>
                    <a:pt x="1058" y="256"/>
                  </a:lnTo>
                  <a:lnTo>
                    <a:pt x="1048" y="264"/>
                  </a:lnTo>
                  <a:lnTo>
                    <a:pt x="1040" y="274"/>
                  </a:lnTo>
                  <a:lnTo>
                    <a:pt x="786" y="714"/>
                  </a:lnTo>
                  <a:lnTo>
                    <a:pt x="786" y="714"/>
                  </a:lnTo>
                  <a:lnTo>
                    <a:pt x="782" y="726"/>
                  </a:lnTo>
                  <a:lnTo>
                    <a:pt x="780" y="738"/>
                  </a:lnTo>
                  <a:lnTo>
                    <a:pt x="782" y="750"/>
                  </a:lnTo>
                  <a:lnTo>
                    <a:pt x="786" y="762"/>
                  </a:lnTo>
                  <a:lnTo>
                    <a:pt x="786" y="762"/>
                  </a:lnTo>
                  <a:lnTo>
                    <a:pt x="794" y="772"/>
                  </a:lnTo>
                  <a:lnTo>
                    <a:pt x="804" y="780"/>
                  </a:lnTo>
                  <a:lnTo>
                    <a:pt x="816" y="784"/>
                  </a:lnTo>
                  <a:lnTo>
                    <a:pt x="828" y="786"/>
                  </a:lnTo>
                  <a:lnTo>
                    <a:pt x="918" y="786"/>
                  </a:lnTo>
                  <a:lnTo>
                    <a:pt x="918" y="1268"/>
                  </a:lnTo>
                  <a:lnTo>
                    <a:pt x="458" y="1268"/>
                  </a:lnTo>
                  <a:lnTo>
                    <a:pt x="458" y="1268"/>
                  </a:lnTo>
                  <a:lnTo>
                    <a:pt x="412" y="1266"/>
                  </a:lnTo>
                  <a:lnTo>
                    <a:pt x="366" y="1258"/>
                  </a:lnTo>
                  <a:lnTo>
                    <a:pt x="322" y="1246"/>
                  </a:lnTo>
                  <a:lnTo>
                    <a:pt x="280" y="1232"/>
                  </a:lnTo>
                  <a:lnTo>
                    <a:pt x="240" y="1212"/>
                  </a:lnTo>
                  <a:lnTo>
                    <a:pt x="202" y="1190"/>
                  </a:lnTo>
                  <a:lnTo>
                    <a:pt x="168" y="1162"/>
                  </a:lnTo>
                  <a:lnTo>
                    <a:pt x="134" y="1134"/>
                  </a:lnTo>
                  <a:lnTo>
                    <a:pt x="106" y="1100"/>
                  </a:lnTo>
                  <a:lnTo>
                    <a:pt x="78" y="1066"/>
                  </a:lnTo>
                  <a:lnTo>
                    <a:pt x="56" y="1028"/>
                  </a:lnTo>
                  <a:lnTo>
                    <a:pt x="36" y="988"/>
                  </a:lnTo>
                  <a:lnTo>
                    <a:pt x="22" y="946"/>
                  </a:lnTo>
                  <a:lnTo>
                    <a:pt x="10" y="902"/>
                  </a:lnTo>
                  <a:lnTo>
                    <a:pt x="2" y="856"/>
                  </a:lnTo>
                  <a:lnTo>
                    <a:pt x="0" y="810"/>
                  </a:lnTo>
                  <a:lnTo>
                    <a:pt x="0" y="810"/>
                  </a:lnTo>
                  <a:lnTo>
                    <a:pt x="2" y="762"/>
                  </a:lnTo>
                  <a:lnTo>
                    <a:pt x="10" y="716"/>
                  </a:lnTo>
                  <a:lnTo>
                    <a:pt x="22" y="674"/>
                  </a:lnTo>
                  <a:lnTo>
                    <a:pt x="36" y="630"/>
                  </a:lnTo>
                  <a:lnTo>
                    <a:pt x="56" y="590"/>
                  </a:lnTo>
                  <a:lnTo>
                    <a:pt x="78" y="554"/>
                  </a:lnTo>
                  <a:lnTo>
                    <a:pt x="106" y="518"/>
                  </a:lnTo>
                  <a:lnTo>
                    <a:pt x="134" y="486"/>
                  </a:lnTo>
                  <a:lnTo>
                    <a:pt x="168" y="456"/>
                  </a:lnTo>
                  <a:lnTo>
                    <a:pt x="202" y="430"/>
                  </a:lnTo>
                  <a:lnTo>
                    <a:pt x="240" y="406"/>
                  </a:lnTo>
                  <a:lnTo>
                    <a:pt x="280" y="386"/>
                  </a:lnTo>
                  <a:lnTo>
                    <a:pt x="322" y="372"/>
                  </a:lnTo>
                  <a:lnTo>
                    <a:pt x="366" y="360"/>
                  </a:lnTo>
                  <a:lnTo>
                    <a:pt x="412" y="354"/>
                  </a:lnTo>
                  <a:lnTo>
                    <a:pt x="458" y="350"/>
                  </a:lnTo>
                  <a:lnTo>
                    <a:pt x="458" y="350"/>
                  </a:lnTo>
                  <a:lnTo>
                    <a:pt x="492" y="352"/>
                  </a:lnTo>
                  <a:lnTo>
                    <a:pt x="526" y="356"/>
                  </a:lnTo>
                  <a:lnTo>
                    <a:pt x="558" y="362"/>
                  </a:lnTo>
                  <a:lnTo>
                    <a:pt x="590" y="370"/>
                  </a:lnTo>
                  <a:lnTo>
                    <a:pt x="622" y="380"/>
                  </a:lnTo>
                  <a:lnTo>
                    <a:pt x="652" y="394"/>
                  </a:lnTo>
                  <a:lnTo>
                    <a:pt x="682" y="408"/>
                  </a:lnTo>
                  <a:lnTo>
                    <a:pt x="710" y="426"/>
                  </a:lnTo>
                  <a:lnTo>
                    <a:pt x="710" y="426"/>
                  </a:lnTo>
                  <a:lnTo>
                    <a:pt x="722" y="432"/>
                  </a:lnTo>
                  <a:lnTo>
                    <a:pt x="732" y="434"/>
                  </a:lnTo>
                  <a:lnTo>
                    <a:pt x="744" y="434"/>
                  </a:lnTo>
                  <a:lnTo>
                    <a:pt x="756" y="430"/>
                  </a:lnTo>
                  <a:lnTo>
                    <a:pt x="756" y="430"/>
                  </a:lnTo>
                  <a:lnTo>
                    <a:pt x="766" y="424"/>
                  </a:lnTo>
                  <a:lnTo>
                    <a:pt x="774" y="416"/>
                  </a:lnTo>
                  <a:lnTo>
                    <a:pt x="780" y="406"/>
                  </a:lnTo>
                  <a:lnTo>
                    <a:pt x="784" y="394"/>
                  </a:lnTo>
                  <a:lnTo>
                    <a:pt x="784" y="394"/>
                  </a:lnTo>
                  <a:lnTo>
                    <a:pt x="794" y="352"/>
                  </a:lnTo>
                  <a:lnTo>
                    <a:pt x="806" y="312"/>
                  </a:lnTo>
                  <a:lnTo>
                    <a:pt x="822" y="274"/>
                  </a:lnTo>
                  <a:lnTo>
                    <a:pt x="842" y="236"/>
                  </a:lnTo>
                  <a:lnTo>
                    <a:pt x="864" y="202"/>
                  </a:lnTo>
                  <a:lnTo>
                    <a:pt x="888" y="170"/>
                  </a:lnTo>
                  <a:lnTo>
                    <a:pt x="916" y="140"/>
                  </a:lnTo>
                  <a:lnTo>
                    <a:pt x="946" y="112"/>
                  </a:lnTo>
                  <a:lnTo>
                    <a:pt x="978" y="88"/>
                  </a:lnTo>
                  <a:lnTo>
                    <a:pt x="1012" y="66"/>
                  </a:lnTo>
                  <a:lnTo>
                    <a:pt x="1050" y="46"/>
                  </a:lnTo>
                  <a:lnTo>
                    <a:pt x="1086" y="30"/>
                  </a:lnTo>
                  <a:lnTo>
                    <a:pt x="1126" y="18"/>
                  </a:lnTo>
                  <a:lnTo>
                    <a:pt x="1168" y="8"/>
                  </a:lnTo>
                  <a:lnTo>
                    <a:pt x="1210" y="2"/>
                  </a:lnTo>
                  <a:lnTo>
                    <a:pt x="1252" y="0"/>
                  </a:lnTo>
                  <a:lnTo>
                    <a:pt x="1252" y="0"/>
                  </a:lnTo>
                  <a:lnTo>
                    <a:pt x="1276" y="2"/>
                  </a:lnTo>
                  <a:lnTo>
                    <a:pt x="1300" y="4"/>
                  </a:lnTo>
                  <a:lnTo>
                    <a:pt x="1324" y="6"/>
                  </a:lnTo>
                  <a:lnTo>
                    <a:pt x="1348" y="10"/>
                  </a:lnTo>
                  <a:lnTo>
                    <a:pt x="1394" y="22"/>
                  </a:lnTo>
                  <a:lnTo>
                    <a:pt x="1436" y="38"/>
                  </a:lnTo>
                  <a:lnTo>
                    <a:pt x="1478" y="58"/>
                  </a:lnTo>
                  <a:lnTo>
                    <a:pt x="1518" y="82"/>
                  </a:lnTo>
                  <a:lnTo>
                    <a:pt x="1554" y="110"/>
                  </a:lnTo>
                  <a:lnTo>
                    <a:pt x="1588" y="140"/>
                  </a:lnTo>
                  <a:lnTo>
                    <a:pt x="1618" y="174"/>
                  </a:lnTo>
                  <a:lnTo>
                    <a:pt x="1646" y="210"/>
                  </a:lnTo>
                  <a:lnTo>
                    <a:pt x="1670" y="250"/>
                  </a:lnTo>
                  <a:lnTo>
                    <a:pt x="1690" y="290"/>
                  </a:lnTo>
                  <a:lnTo>
                    <a:pt x="1706" y="334"/>
                  </a:lnTo>
                  <a:lnTo>
                    <a:pt x="1718" y="380"/>
                  </a:lnTo>
                  <a:lnTo>
                    <a:pt x="1722" y="404"/>
                  </a:lnTo>
                  <a:lnTo>
                    <a:pt x="1724" y="428"/>
                  </a:lnTo>
                  <a:lnTo>
                    <a:pt x="1726" y="452"/>
                  </a:lnTo>
                  <a:lnTo>
                    <a:pt x="1728" y="476"/>
                  </a:lnTo>
                  <a:lnTo>
                    <a:pt x="1728" y="476"/>
                  </a:lnTo>
                  <a:lnTo>
                    <a:pt x="1724" y="522"/>
                  </a:lnTo>
                  <a:lnTo>
                    <a:pt x="1724" y="522"/>
                  </a:lnTo>
                  <a:lnTo>
                    <a:pt x="1726" y="532"/>
                  </a:lnTo>
                  <a:lnTo>
                    <a:pt x="1728" y="542"/>
                  </a:lnTo>
                  <a:lnTo>
                    <a:pt x="1732" y="552"/>
                  </a:lnTo>
                  <a:lnTo>
                    <a:pt x="1740" y="560"/>
                  </a:lnTo>
                  <a:lnTo>
                    <a:pt x="1740" y="560"/>
                  </a:lnTo>
                  <a:lnTo>
                    <a:pt x="1748" y="566"/>
                  </a:lnTo>
                  <a:lnTo>
                    <a:pt x="1756" y="572"/>
                  </a:lnTo>
                  <a:lnTo>
                    <a:pt x="1768" y="574"/>
                  </a:lnTo>
                  <a:lnTo>
                    <a:pt x="1778" y="574"/>
                  </a:lnTo>
                  <a:lnTo>
                    <a:pt x="1778" y="574"/>
                  </a:lnTo>
                  <a:lnTo>
                    <a:pt x="1816" y="572"/>
                  </a:lnTo>
                  <a:lnTo>
                    <a:pt x="1816" y="572"/>
                  </a:lnTo>
                </a:path>
              </a:pathLst>
            </a:custGeom>
            <a:noFill/>
            <a:ln w="9525">
              <a:noFill/>
              <a:round/>
              <a:headEnd/>
              <a:tailEnd/>
            </a:ln>
            <a:extLst>
              <a:ext uri="{909E8E84-426E-40DD-AFC4-6F175D3DCCD1}">
                <a14:hiddenFill xmlns:a14="http://schemas.microsoft.com/office/drawing/2010/main">
                  <a:solidFill>
                    <a:srgbClr val="FFFFFF"/>
                  </a:solidFill>
                </a14:hiddenFill>
              </a:ext>
            </a:extLst>
          </p:spPr>
          <p:txBody>
            <a:bodyPr vert="horz" wrap="square" lIns="91440" tIns="45721" rIns="91440" bIns="45721" numCol="1" anchor="t" anchorCtr="0" compatLnSpc="1">
              <a:prstTxWarp prst="textNoShape">
                <a:avLst/>
              </a:prstTxWarp>
            </a:bodyPr>
            <a:lstStyle/>
            <a:p>
              <a:endParaRPr lang="en-US" sz="1801"/>
            </a:p>
          </p:txBody>
        </p:sp>
        <p:sp>
          <p:nvSpPr>
            <p:cNvPr id="91" name="Line 117"/>
            <p:cNvSpPr>
              <a:spLocks noChangeShapeType="1"/>
            </p:cNvSpPr>
            <p:nvPr/>
          </p:nvSpPr>
          <p:spPr bwMode="auto">
            <a:xfrm>
              <a:off x="9847263" y="5045075"/>
              <a:ext cx="0" cy="0"/>
            </a:xfrm>
            <a:prstGeom prst="line">
              <a:avLst/>
            </a:prstGeom>
            <a:noFill/>
            <a:ln w="9525">
              <a:noFill/>
              <a:round/>
              <a:headEnd/>
              <a:tailEnd/>
            </a:ln>
            <a:extLst>
              <a:ext uri="{909E8E84-426E-40DD-AFC4-6F175D3DCCD1}">
                <a14:hiddenFill xmlns:a14="http://schemas.microsoft.com/office/drawing/2010/main">
                  <a:noFill/>
                </a14:hiddenFill>
              </a:ext>
            </a:extLst>
          </p:spPr>
          <p:txBody>
            <a:bodyPr vert="horz" wrap="square" lIns="91440" tIns="45721" rIns="91440" bIns="45721" numCol="1" anchor="t" anchorCtr="0" compatLnSpc="1">
              <a:prstTxWarp prst="textNoShape">
                <a:avLst/>
              </a:prstTxWarp>
            </a:bodyPr>
            <a:lstStyle/>
            <a:p>
              <a:endParaRPr lang="en-US" sz="1801"/>
            </a:p>
          </p:txBody>
        </p:sp>
        <p:sp>
          <p:nvSpPr>
            <p:cNvPr id="92" name="Freeform 118"/>
            <p:cNvSpPr>
              <a:spLocks noEditPoints="1"/>
            </p:cNvSpPr>
            <p:nvPr/>
          </p:nvSpPr>
          <p:spPr bwMode="auto">
            <a:xfrm>
              <a:off x="5907088" y="2790825"/>
              <a:ext cx="3435350" cy="2009775"/>
            </a:xfrm>
            <a:custGeom>
              <a:avLst/>
              <a:gdLst>
                <a:gd name="T0" fmla="*/ 2106 w 2164"/>
                <a:gd name="T1" fmla="*/ 784 h 1266"/>
                <a:gd name="T2" fmla="*/ 1984 w 2164"/>
                <a:gd name="T3" fmla="*/ 756 h 1266"/>
                <a:gd name="T4" fmla="*/ 1870 w 2164"/>
                <a:gd name="T5" fmla="*/ 754 h 1266"/>
                <a:gd name="T6" fmla="*/ 1692 w 2164"/>
                <a:gd name="T7" fmla="*/ 798 h 1266"/>
                <a:gd name="T8" fmla="*/ 1540 w 2164"/>
                <a:gd name="T9" fmla="*/ 894 h 1266"/>
                <a:gd name="T10" fmla="*/ 1426 w 2164"/>
                <a:gd name="T11" fmla="*/ 1034 h 1266"/>
                <a:gd name="T12" fmla="*/ 1372 w 2164"/>
                <a:gd name="T13" fmla="*/ 1160 h 1266"/>
                <a:gd name="T14" fmla="*/ 1252 w 2164"/>
                <a:gd name="T15" fmla="*/ 1118 h 1266"/>
                <a:gd name="T16" fmla="*/ 1124 w 2164"/>
                <a:gd name="T17" fmla="*/ 1102 h 1266"/>
                <a:gd name="T18" fmla="*/ 1040 w 2164"/>
                <a:gd name="T19" fmla="*/ 1110 h 1266"/>
                <a:gd name="T20" fmla="*/ 934 w 2164"/>
                <a:gd name="T21" fmla="*/ 1136 h 1266"/>
                <a:gd name="T22" fmla="*/ 836 w 2164"/>
                <a:gd name="T23" fmla="*/ 1184 h 1266"/>
                <a:gd name="T24" fmla="*/ 752 w 2164"/>
                <a:gd name="T25" fmla="*/ 1248 h 1266"/>
                <a:gd name="T26" fmla="*/ 312 w 2164"/>
                <a:gd name="T27" fmla="*/ 1264 h 1266"/>
                <a:gd name="T28" fmla="*/ 182 w 2164"/>
                <a:gd name="T29" fmla="*/ 1224 h 1266"/>
                <a:gd name="T30" fmla="*/ 80 w 2164"/>
                <a:gd name="T31" fmla="*/ 1140 h 1266"/>
                <a:gd name="T32" fmla="*/ 16 w 2164"/>
                <a:gd name="T33" fmla="*/ 1022 h 1266"/>
                <a:gd name="T34" fmla="*/ 0 w 2164"/>
                <a:gd name="T35" fmla="*/ 918 h 1266"/>
                <a:gd name="T36" fmla="*/ 28 w 2164"/>
                <a:gd name="T37" fmla="*/ 784 h 1266"/>
                <a:gd name="T38" fmla="*/ 102 w 2164"/>
                <a:gd name="T39" fmla="*/ 672 h 1266"/>
                <a:gd name="T40" fmla="*/ 212 w 2164"/>
                <a:gd name="T41" fmla="*/ 598 h 1266"/>
                <a:gd name="T42" fmla="*/ 348 w 2164"/>
                <a:gd name="T43" fmla="*/ 570 h 1266"/>
                <a:gd name="T44" fmla="*/ 396 w 2164"/>
                <a:gd name="T45" fmla="*/ 572 h 1266"/>
                <a:gd name="T46" fmla="*/ 424 w 2164"/>
                <a:gd name="T47" fmla="*/ 560 h 1266"/>
                <a:gd name="T48" fmla="*/ 438 w 2164"/>
                <a:gd name="T49" fmla="*/ 520 h 1266"/>
                <a:gd name="T50" fmla="*/ 438 w 2164"/>
                <a:gd name="T51" fmla="*/ 450 h 1266"/>
                <a:gd name="T52" fmla="*/ 458 w 2164"/>
                <a:gd name="T53" fmla="*/ 334 h 1266"/>
                <a:gd name="T54" fmla="*/ 546 w 2164"/>
                <a:gd name="T55" fmla="*/ 172 h 1266"/>
                <a:gd name="T56" fmla="*/ 686 w 2164"/>
                <a:gd name="T57" fmla="*/ 58 h 1266"/>
                <a:gd name="T58" fmla="*/ 840 w 2164"/>
                <a:gd name="T59" fmla="*/ 6 h 1266"/>
                <a:gd name="T60" fmla="*/ 916 w 2164"/>
                <a:gd name="T61" fmla="*/ 0 h 1266"/>
                <a:gd name="T62" fmla="*/ 814 w 2164"/>
                <a:gd name="T63" fmla="*/ 544 h 1266"/>
                <a:gd name="T64" fmla="*/ 786 w 2164"/>
                <a:gd name="T65" fmla="*/ 566 h 1266"/>
                <a:gd name="T66" fmla="*/ 786 w 2164"/>
                <a:gd name="T67" fmla="*/ 614 h 1266"/>
                <a:gd name="T68" fmla="*/ 1058 w 2164"/>
                <a:gd name="T69" fmla="*/ 1072 h 1266"/>
                <a:gd name="T70" fmla="*/ 1094 w 2164"/>
                <a:gd name="T71" fmla="*/ 1076 h 1266"/>
                <a:gd name="T72" fmla="*/ 1124 w 2164"/>
                <a:gd name="T73" fmla="*/ 1054 h 1266"/>
                <a:gd name="T74" fmla="*/ 1384 w 2164"/>
                <a:gd name="T75" fmla="*/ 590 h 1266"/>
                <a:gd name="T76" fmla="*/ 1370 w 2164"/>
                <a:gd name="T77" fmla="*/ 556 h 1266"/>
                <a:gd name="T78" fmla="*/ 1246 w 2164"/>
                <a:gd name="T79" fmla="*/ 542 h 1266"/>
                <a:gd name="T80" fmla="*/ 1294 w 2164"/>
                <a:gd name="T81" fmla="*/ 194 h 1266"/>
                <a:gd name="T82" fmla="*/ 1362 w 2164"/>
                <a:gd name="T83" fmla="*/ 322 h 1266"/>
                <a:gd name="T84" fmla="*/ 1382 w 2164"/>
                <a:gd name="T85" fmla="*/ 406 h 1266"/>
                <a:gd name="T86" fmla="*/ 1408 w 2164"/>
                <a:gd name="T87" fmla="*/ 430 h 1266"/>
                <a:gd name="T88" fmla="*/ 1454 w 2164"/>
                <a:gd name="T89" fmla="*/ 426 h 1266"/>
                <a:gd name="T90" fmla="*/ 1542 w 2164"/>
                <a:gd name="T91" fmla="*/ 380 h 1266"/>
                <a:gd name="T92" fmla="*/ 1672 w 2164"/>
                <a:gd name="T93" fmla="*/ 352 h 1266"/>
                <a:gd name="T94" fmla="*/ 1796 w 2164"/>
                <a:gd name="T95" fmla="*/ 360 h 1266"/>
                <a:gd name="T96" fmla="*/ 1960 w 2164"/>
                <a:gd name="T97" fmla="*/ 428 h 1266"/>
                <a:gd name="T98" fmla="*/ 2084 w 2164"/>
                <a:gd name="T99" fmla="*/ 552 h 1266"/>
                <a:gd name="T100" fmla="*/ 2154 w 2164"/>
                <a:gd name="T101" fmla="*/ 716 h 1266"/>
                <a:gd name="T102" fmla="*/ 2164 w 2164"/>
                <a:gd name="T103" fmla="*/ 808 h 1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64" h="1266">
                  <a:moveTo>
                    <a:pt x="2164" y="808"/>
                  </a:moveTo>
                  <a:lnTo>
                    <a:pt x="2164" y="808"/>
                  </a:lnTo>
                  <a:lnTo>
                    <a:pt x="2134" y="796"/>
                  </a:lnTo>
                  <a:lnTo>
                    <a:pt x="2106" y="784"/>
                  </a:lnTo>
                  <a:lnTo>
                    <a:pt x="2076" y="774"/>
                  </a:lnTo>
                  <a:lnTo>
                    <a:pt x="2046" y="768"/>
                  </a:lnTo>
                  <a:lnTo>
                    <a:pt x="2014" y="760"/>
                  </a:lnTo>
                  <a:lnTo>
                    <a:pt x="1984" y="756"/>
                  </a:lnTo>
                  <a:lnTo>
                    <a:pt x="1950" y="754"/>
                  </a:lnTo>
                  <a:lnTo>
                    <a:pt x="1918" y="752"/>
                  </a:lnTo>
                  <a:lnTo>
                    <a:pt x="1918" y="752"/>
                  </a:lnTo>
                  <a:lnTo>
                    <a:pt x="1870" y="754"/>
                  </a:lnTo>
                  <a:lnTo>
                    <a:pt x="1824" y="760"/>
                  </a:lnTo>
                  <a:lnTo>
                    <a:pt x="1778" y="770"/>
                  </a:lnTo>
                  <a:lnTo>
                    <a:pt x="1734" y="782"/>
                  </a:lnTo>
                  <a:lnTo>
                    <a:pt x="1692" y="798"/>
                  </a:lnTo>
                  <a:lnTo>
                    <a:pt x="1652" y="818"/>
                  </a:lnTo>
                  <a:lnTo>
                    <a:pt x="1612" y="842"/>
                  </a:lnTo>
                  <a:lnTo>
                    <a:pt x="1576" y="866"/>
                  </a:lnTo>
                  <a:lnTo>
                    <a:pt x="1540" y="894"/>
                  </a:lnTo>
                  <a:lnTo>
                    <a:pt x="1508" y="926"/>
                  </a:lnTo>
                  <a:lnTo>
                    <a:pt x="1478" y="960"/>
                  </a:lnTo>
                  <a:lnTo>
                    <a:pt x="1450" y="996"/>
                  </a:lnTo>
                  <a:lnTo>
                    <a:pt x="1426" y="1034"/>
                  </a:lnTo>
                  <a:lnTo>
                    <a:pt x="1404" y="1074"/>
                  </a:lnTo>
                  <a:lnTo>
                    <a:pt x="1386" y="1116"/>
                  </a:lnTo>
                  <a:lnTo>
                    <a:pt x="1372" y="1160"/>
                  </a:lnTo>
                  <a:lnTo>
                    <a:pt x="1372" y="1160"/>
                  </a:lnTo>
                  <a:lnTo>
                    <a:pt x="1342" y="1148"/>
                  </a:lnTo>
                  <a:lnTo>
                    <a:pt x="1312" y="1136"/>
                  </a:lnTo>
                  <a:lnTo>
                    <a:pt x="1282" y="1126"/>
                  </a:lnTo>
                  <a:lnTo>
                    <a:pt x="1252" y="1118"/>
                  </a:lnTo>
                  <a:lnTo>
                    <a:pt x="1220" y="1112"/>
                  </a:lnTo>
                  <a:lnTo>
                    <a:pt x="1188" y="1106"/>
                  </a:lnTo>
                  <a:lnTo>
                    <a:pt x="1158" y="1104"/>
                  </a:lnTo>
                  <a:lnTo>
                    <a:pt x="1124" y="1102"/>
                  </a:lnTo>
                  <a:lnTo>
                    <a:pt x="1124" y="1102"/>
                  </a:lnTo>
                  <a:lnTo>
                    <a:pt x="1096" y="1104"/>
                  </a:lnTo>
                  <a:lnTo>
                    <a:pt x="1068" y="1106"/>
                  </a:lnTo>
                  <a:lnTo>
                    <a:pt x="1040" y="1110"/>
                  </a:lnTo>
                  <a:lnTo>
                    <a:pt x="1012" y="1114"/>
                  </a:lnTo>
                  <a:lnTo>
                    <a:pt x="986" y="1120"/>
                  </a:lnTo>
                  <a:lnTo>
                    <a:pt x="960" y="1128"/>
                  </a:lnTo>
                  <a:lnTo>
                    <a:pt x="934" y="1136"/>
                  </a:lnTo>
                  <a:lnTo>
                    <a:pt x="908" y="1146"/>
                  </a:lnTo>
                  <a:lnTo>
                    <a:pt x="884" y="1158"/>
                  </a:lnTo>
                  <a:lnTo>
                    <a:pt x="860" y="1170"/>
                  </a:lnTo>
                  <a:lnTo>
                    <a:pt x="836" y="1184"/>
                  </a:lnTo>
                  <a:lnTo>
                    <a:pt x="814" y="1198"/>
                  </a:lnTo>
                  <a:lnTo>
                    <a:pt x="792" y="1214"/>
                  </a:lnTo>
                  <a:lnTo>
                    <a:pt x="772" y="1230"/>
                  </a:lnTo>
                  <a:lnTo>
                    <a:pt x="752" y="1248"/>
                  </a:lnTo>
                  <a:lnTo>
                    <a:pt x="732" y="1266"/>
                  </a:lnTo>
                  <a:lnTo>
                    <a:pt x="348" y="1266"/>
                  </a:lnTo>
                  <a:lnTo>
                    <a:pt x="348" y="1266"/>
                  </a:lnTo>
                  <a:lnTo>
                    <a:pt x="312" y="1264"/>
                  </a:lnTo>
                  <a:lnTo>
                    <a:pt x="278" y="1260"/>
                  </a:lnTo>
                  <a:lnTo>
                    <a:pt x="244" y="1252"/>
                  </a:lnTo>
                  <a:lnTo>
                    <a:pt x="212" y="1240"/>
                  </a:lnTo>
                  <a:lnTo>
                    <a:pt x="182" y="1224"/>
                  </a:lnTo>
                  <a:lnTo>
                    <a:pt x="154" y="1208"/>
                  </a:lnTo>
                  <a:lnTo>
                    <a:pt x="126" y="1188"/>
                  </a:lnTo>
                  <a:lnTo>
                    <a:pt x="102" y="1164"/>
                  </a:lnTo>
                  <a:lnTo>
                    <a:pt x="80" y="1140"/>
                  </a:lnTo>
                  <a:lnTo>
                    <a:pt x="60" y="1114"/>
                  </a:lnTo>
                  <a:lnTo>
                    <a:pt x="42" y="1084"/>
                  </a:lnTo>
                  <a:lnTo>
                    <a:pt x="28" y="1054"/>
                  </a:lnTo>
                  <a:lnTo>
                    <a:pt x="16" y="1022"/>
                  </a:lnTo>
                  <a:lnTo>
                    <a:pt x="8" y="988"/>
                  </a:lnTo>
                  <a:lnTo>
                    <a:pt x="2" y="954"/>
                  </a:lnTo>
                  <a:lnTo>
                    <a:pt x="0" y="918"/>
                  </a:lnTo>
                  <a:lnTo>
                    <a:pt x="0" y="918"/>
                  </a:lnTo>
                  <a:lnTo>
                    <a:pt x="2" y="884"/>
                  </a:lnTo>
                  <a:lnTo>
                    <a:pt x="8" y="848"/>
                  </a:lnTo>
                  <a:lnTo>
                    <a:pt x="16" y="816"/>
                  </a:lnTo>
                  <a:lnTo>
                    <a:pt x="28" y="784"/>
                  </a:lnTo>
                  <a:lnTo>
                    <a:pt x="42" y="754"/>
                  </a:lnTo>
                  <a:lnTo>
                    <a:pt x="60" y="724"/>
                  </a:lnTo>
                  <a:lnTo>
                    <a:pt x="80" y="698"/>
                  </a:lnTo>
                  <a:lnTo>
                    <a:pt x="102" y="672"/>
                  </a:lnTo>
                  <a:lnTo>
                    <a:pt x="126" y="650"/>
                  </a:lnTo>
                  <a:lnTo>
                    <a:pt x="154" y="630"/>
                  </a:lnTo>
                  <a:lnTo>
                    <a:pt x="182" y="612"/>
                  </a:lnTo>
                  <a:lnTo>
                    <a:pt x="212" y="598"/>
                  </a:lnTo>
                  <a:lnTo>
                    <a:pt x="244" y="586"/>
                  </a:lnTo>
                  <a:lnTo>
                    <a:pt x="278" y="578"/>
                  </a:lnTo>
                  <a:lnTo>
                    <a:pt x="312" y="572"/>
                  </a:lnTo>
                  <a:lnTo>
                    <a:pt x="348" y="570"/>
                  </a:lnTo>
                  <a:lnTo>
                    <a:pt x="348" y="570"/>
                  </a:lnTo>
                  <a:lnTo>
                    <a:pt x="386" y="572"/>
                  </a:lnTo>
                  <a:lnTo>
                    <a:pt x="386" y="572"/>
                  </a:lnTo>
                  <a:lnTo>
                    <a:pt x="396" y="572"/>
                  </a:lnTo>
                  <a:lnTo>
                    <a:pt x="406" y="570"/>
                  </a:lnTo>
                  <a:lnTo>
                    <a:pt x="416" y="566"/>
                  </a:lnTo>
                  <a:lnTo>
                    <a:pt x="424" y="560"/>
                  </a:lnTo>
                  <a:lnTo>
                    <a:pt x="424" y="560"/>
                  </a:lnTo>
                  <a:lnTo>
                    <a:pt x="432" y="552"/>
                  </a:lnTo>
                  <a:lnTo>
                    <a:pt x="436" y="542"/>
                  </a:lnTo>
                  <a:lnTo>
                    <a:pt x="438" y="532"/>
                  </a:lnTo>
                  <a:lnTo>
                    <a:pt x="438" y="520"/>
                  </a:lnTo>
                  <a:lnTo>
                    <a:pt x="438" y="520"/>
                  </a:lnTo>
                  <a:lnTo>
                    <a:pt x="436" y="474"/>
                  </a:lnTo>
                  <a:lnTo>
                    <a:pt x="436" y="474"/>
                  </a:lnTo>
                  <a:lnTo>
                    <a:pt x="438" y="450"/>
                  </a:lnTo>
                  <a:lnTo>
                    <a:pt x="438" y="426"/>
                  </a:lnTo>
                  <a:lnTo>
                    <a:pt x="442" y="402"/>
                  </a:lnTo>
                  <a:lnTo>
                    <a:pt x="446" y="380"/>
                  </a:lnTo>
                  <a:lnTo>
                    <a:pt x="458" y="334"/>
                  </a:lnTo>
                  <a:lnTo>
                    <a:pt x="474" y="290"/>
                  </a:lnTo>
                  <a:lnTo>
                    <a:pt x="494" y="248"/>
                  </a:lnTo>
                  <a:lnTo>
                    <a:pt x="518" y="210"/>
                  </a:lnTo>
                  <a:lnTo>
                    <a:pt x="546" y="172"/>
                  </a:lnTo>
                  <a:lnTo>
                    <a:pt x="576" y="140"/>
                  </a:lnTo>
                  <a:lnTo>
                    <a:pt x="610" y="108"/>
                  </a:lnTo>
                  <a:lnTo>
                    <a:pt x="646" y="82"/>
                  </a:lnTo>
                  <a:lnTo>
                    <a:pt x="686" y="58"/>
                  </a:lnTo>
                  <a:lnTo>
                    <a:pt x="726" y="38"/>
                  </a:lnTo>
                  <a:lnTo>
                    <a:pt x="770" y="22"/>
                  </a:lnTo>
                  <a:lnTo>
                    <a:pt x="816" y="10"/>
                  </a:lnTo>
                  <a:lnTo>
                    <a:pt x="840" y="6"/>
                  </a:lnTo>
                  <a:lnTo>
                    <a:pt x="862" y="2"/>
                  </a:lnTo>
                  <a:lnTo>
                    <a:pt x="888" y="0"/>
                  </a:lnTo>
                  <a:lnTo>
                    <a:pt x="912" y="0"/>
                  </a:lnTo>
                  <a:lnTo>
                    <a:pt x="916" y="0"/>
                  </a:lnTo>
                  <a:lnTo>
                    <a:pt x="916" y="542"/>
                  </a:lnTo>
                  <a:lnTo>
                    <a:pt x="828" y="542"/>
                  </a:lnTo>
                  <a:lnTo>
                    <a:pt x="828" y="542"/>
                  </a:lnTo>
                  <a:lnTo>
                    <a:pt x="814" y="544"/>
                  </a:lnTo>
                  <a:lnTo>
                    <a:pt x="804" y="548"/>
                  </a:lnTo>
                  <a:lnTo>
                    <a:pt x="794" y="556"/>
                  </a:lnTo>
                  <a:lnTo>
                    <a:pt x="786" y="566"/>
                  </a:lnTo>
                  <a:lnTo>
                    <a:pt x="786" y="566"/>
                  </a:lnTo>
                  <a:lnTo>
                    <a:pt x="780" y="578"/>
                  </a:lnTo>
                  <a:lnTo>
                    <a:pt x="780" y="590"/>
                  </a:lnTo>
                  <a:lnTo>
                    <a:pt x="780" y="602"/>
                  </a:lnTo>
                  <a:lnTo>
                    <a:pt x="786" y="614"/>
                  </a:lnTo>
                  <a:lnTo>
                    <a:pt x="1040" y="1054"/>
                  </a:lnTo>
                  <a:lnTo>
                    <a:pt x="1040" y="1054"/>
                  </a:lnTo>
                  <a:lnTo>
                    <a:pt x="1048" y="1064"/>
                  </a:lnTo>
                  <a:lnTo>
                    <a:pt x="1058" y="1072"/>
                  </a:lnTo>
                  <a:lnTo>
                    <a:pt x="1068" y="1076"/>
                  </a:lnTo>
                  <a:lnTo>
                    <a:pt x="1082" y="1078"/>
                  </a:lnTo>
                  <a:lnTo>
                    <a:pt x="1082" y="1078"/>
                  </a:lnTo>
                  <a:lnTo>
                    <a:pt x="1094" y="1076"/>
                  </a:lnTo>
                  <a:lnTo>
                    <a:pt x="1106" y="1072"/>
                  </a:lnTo>
                  <a:lnTo>
                    <a:pt x="1106" y="1072"/>
                  </a:lnTo>
                  <a:lnTo>
                    <a:pt x="1116" y="1064"/>
                  </a:lnTo>
                  <a:lnTo>
                    <a:pt x="1124" y="1054"/>
                  </a:lnTo>
                  <a:lnTo>
                    <a:pt x="1378" y="614"/>
                  </a:lnTo>
                  <a:lnTo>
                    <a:pt x="1378" y="614"/>
                  </a:lnTo>
                  <a:lnTo>
                    <a:pt x="1382" y="602"/>
                  </a:lnTo>
                  <a:lnTo>
                    <a:pt x="1384" y="590"/>
                  </a:lnTo>
                  <a:lnTo>
                    <a:pt x="1382" y="578"/>
                  </a:lnTo>
                  <a:lnTo>
                    <a:pt x="1378" y="566"/>
                  </a:lnTo>
                  <a:lnTo>
                    <a:pt x="1378" y="566"/>
                  </a:lnTo>
                  <a:lnTo>
                    <a:pt x="1370" y="556"/>
                  </a:lnTo>
                  <a:lnTo>
                    <a:pt x="1360" y="548"/>
                  </a:lnTo>
                  <a:lnTo>
                    <a:pt x="1348" y="544"/>
                  </a:lnTo>
                  <a:lnTo>
                    <a:pt x="1336" y="542"/>
                  </a:lnTo>
                  <a:lnTo>
                    <a:pt x="1246" y="542"/>
                  </a:lnTo>
                  <a:lnTo>
                    <a:pt x="1246" y="138"/>
                  </a:lnTo>
                  <a:lnTo>
                    <a:pt x="1246" y="138"/>
                  </a:lnTo>
                  <a:lnTo>
                    <a:pt x="1272" y="166"/>
                  </a:lnTo>
                  <a:lnTo>
                    <a:pt x="1294" y="194"/>
                  </a:lnTo>
                  <a:lnTo>
                    <a:pt x="1314" y="224"/>
                  </a:lnTo>
                  <a:lnTo>
                    <a:pt x="1332" y="256"/>
                  </a:lnTo>
                  <a:lnTo>
                    <a:pt x="1348" y="288"/>
                  </a:lnTo>
                  <a:lnTo>
                    <a:pt x="1362" y="322"/>
                  </a:lnTo>
                  <a:lnTo>
                    <a:pt x="1372" y="358"/>
                  </a:lnTo>
                  <a:lnTo>
                    <a:pt x="1380" y="394"/>
                  </a:lnTo>
                  <a:lnTo>
                    <a:pt x="1380" y="394"/>
                  </a:lnTo>
                  <a:lnTo>
                    <a:pt x="1382" y="406"/>
                  </a:lnTo>
                  <a:lnTo>
                    <a:pt x="1388" y="416"/>
                  </a:lnTo>
                  <a:lnTo>
                    <a:pt x="1398" y="424"/>
                  </a:lnTo>
                  <a:lnTo>
                    <a:pt x="1408" y="430"/>
                  </a:lnTo>
                  <a:lnTo>
                    <a:pt x="1408" y="430"/>
                  </a:lnTo>
                  <a:lnTo>
                    <a:pt x="1418" y="432"/>
                  </a:lnTo>
                  <a:lnTo>
                    <a:pt x="1430" y="434"/>
                  </a:lnTo>
                  <a:lnTo>
                    <a:pt x="1442" y="430"/>
                  </a:lnTo>
                  <a:lnTo>
                    <a:pt x="1454" y="426"/>
                  </a:lnTo>
                  <a:lnTo>
                    <a:pt x="1454" y="426"/>
                  </a:lnTo>
                  <a:lnTo>
                    <a:pt x="1482" y="408"/>
                  </a:lnTo>
                  <a:lnTo>
                    <a:pt x="1512" y="392"/>
                  </a:lnTo>
                  <a:lnTo>
                    <a:pt x="1542" y="380"/>
                  </a:lnTo>
                  <a:lnTo>
                    <a:pt x="1574" y="370"/>
                  </a:lnTo>
                  <a:lnTo>
                    <a:pt x="1606" y="360"/>
                  </a:lnTo>
                  <a:lnTo>
                    <a:pt x="1638" y="354"/>
                  </a:lnTo>
                  <a:lnTo>
                    <a:pt x="1672" y="352"/>
                  </a:lnTo>
                  <a:lnTo>
                    <a:pt x="1704" y="350"/>
                  </a:lnTo>
                  <a:lnTo>
                    <a:pt x="1704" y="350"/>
                  </a:lnTo>
                  <a:lnTo>
                    <a:pt x="1752" y="352"/>
                  </a:lnTo>
                  <a:lnTo>
                    <a:pt x="1796" y="360"/>
                  </a:lnTo>
                  <a:lnTo>
                    <a:pt x="1840" y="370"/>
                  </a:lnTo>
                  <a:lnTo>
                    <a:pt x="1882" y="386"/>
                  </a:lnTo>
                  <a:lnTo>
                    <a:pt x="1922" y="406"/>
                  </a:lnTo>
                  <a:lnTo>
                    <a:pt x="1960" y="428"/>
                  </a:lnTo>
                  <a:lnTo>
                    <a:pt x="1996" y="454"/>
                  </a:lnTo>
                  <a:lnTo>
                    <a:pt x="2028" y="484"/>
                  </a:lnTo>
                  <a:lnTo>
                    <a:pt x="2058" y="516"/>
                  </a:lnTo>
                  <a:lnTo>
                    <a:pt x="2084" y="552"/>
                  </a:lnTo>
                  <a:lnTo>
                    <a:pt x="2108" y="590"/>
                  </a:lnTo>
                  <a:lnTo>
                    <a:pt x="2126" y="630"/>
                  </a:lnTo>
                  <a:lnTo>
                    <a:pt x="2142" y="672"/>
                  </a:lnTo>
                  <a:lnTo>
                    <a:pt x="2154" y="716"/>
                  </a:lnTo>
                  <a:lnTo>
                    <a:pt x="2160" y="762"/>
                  </a:lnTo>
                  <a:lnTo>
                    <a:pt x="2164" y="808"/>
                  </a:lnTo>
                  <a:lnTo>
                    <a:pt x="2164" y="808"/>
                  </a:lnTo>
                  <a:close/>
                  <a:moveTo>
                    <a:pt x="2164" y="808"/>
                  </a:moveTo>
                  <a:lnTo>
                    <a:pt x="2164" y="808"/>
                  </a:lnTo>
                  <a:close/>
                </a:path>
              </a:pathLst>
            </a:custGeom>
            <a:solidFill>
              <a:srgbClr val="0070AD"/>
            </a:solidFill>
            <a:ln>
              <a:noFill/>
            </a:ln>
          </p:spPr>
          <p:txBody>
            <a:bodyPr vert="horz" wrap="square" lIns="91440" tIns="45721" rIns="91440" bIns="45721" numCol="1" anchor="t" anchorCtr="0" compatLnSpc="1">
              <a:prstTxWarp prst="textNoShape">
                <a:avLst/>
              </a:prstTxWarp>
            </a:bodyPr>
            <a:lstStyle/>
            <a:p>
              <a:endParaRPr lang="en-US" sz="1801"/>
            </a:p>
          </p:txBody>
        </p:sp>
        <p:sp>
          <p:nvSpPr>
            <p:cNvPr id="93" name="Freeform 119"/>
            <p:cNvSpPr>
              <a:spLocks/>
            </p:cNvSpPr>
            <p:nvPr/>
          </p:nvSpPr>
          <p:spPr bwMode="auto">
            <a:xfrm>
              <a:off x="5907088" y="2790825"/>
              <a:ext cx="3435350" cy="2009775"/>
            </a:xfrm>
            <a:custGeom>
              <a:avLst/>
              <a:gdLst>
                <a:gd name="T0" fmla="*/ 2106 w 2164"/>
                <a:gd name="T1" fmla="*/ 784 h 1266"/>
                <a:gd name="T2" fmla="*/ 1984 w 2164"/>
                <a:gd name="T3" fmla="*/ 756 h 1266"/>
                <a:gd name="T4" fmla="*/ 1870 w 2164"/>
                <a:gd name="T5" fmla="*/ 754 h 1266"/>
                <a:gd name="T6" fmla="*/ 1692 w 2164"/>
                <a:gd name="T7" fmla="*/ 798 h 1266"/>
                <a:gd name="T8" fmla="*/ 1540 w 2164"/>
                <a:gd name="T9" fmla="*/ 894 h 1266"/>
                <a:gd name="T10" fmla="*/ 1426 w 2164"/>
                <a:gd name="T11" fmla="*/ 1034 h 1266"/>
                <a:gd name="T12" fmla="*/ 1372 w 2164"/>
                <a:gd name="T13" fmla="*/ 1160 h 1266"/>
                <a:gd name="T14" fmla="*/ 1252 w 2164"/>
                <a:gd name="T15" fmla="*/ 1118 h 1266"/>
                <a:gd name="T16" fmla="*/ 1124 w 2164"/>
                <a:gd name="T17" fmla="*/ 1102 h 1266"/>
                <a:gd name="T18" fmla="*/ 1040 w 2164"/>
                <a:gd name="T19" fmla="*/ 1110 h 1266"/>
                <a:gd name="T20" fmla="*/ 934 w 2164"/>
                <a:gd name="T21" fmla="*/ 1136 h 1266"/>
                <a:gd name="T22" fmla="*/ 836 w 2164"/>
                <a:gd name="T23" fmla="*/ 1184 h 1266"/>
                <a:gd name="T24" fmla="*/ 752 w 2164"/>
                <a:gd name="T25" fmla="*/ 1248 h 1266"/>
                <a:gd name="T26" fmla="*/ 312 w 2164"/>
                <a:gd name="T27" fmla="*/ 1264 h 1266"/>
                <a:gd name="T28" fmla="*/ 182 w 2164"/>
                <a:gd name="T29" fmla="*/ 1224 h 1266"/>
                <a:gd name="T30" fmla="*/ 80 w 2164"/>
                <a:gd name="T31" fmla="*/ 1140 h 1266"/>
                <a:gd name="T32" fmla="*/ 16 w 2164"/>
                <a:gd name="T33" fmla="*/ 1022 h 1266"/>
                <a:gd name="T34" fmla="*/ 0 w 2164"/>
                <a:gd name="T35" fmla="*/ 918 h 1266"/>
                <a:gd name="T36" fmla="*/ 28 w 2164"/>
                <a:gd name="T37" fmla="*/ 784 h 1266"/>
                <a:gd name="T38" fmla="*/ 102 w 2164"/>
                <a:gd name="T39" fmla="*/ 672 h 1266"/>
                <a:gd name="T40" fmla="*/ 212 w 2164"/>
                <a:gd name="T41" fmla="*/ 598 h 1266"/>
                <a:gd name="T42" fmla="*/ 348 w 2164"/>
                <a:gd name="T43" fmla="*/ 570 h 1266"/>
                <a:gd name="T44" fmla="*/ 396 w 2164"/>
                <a:gd name="T45" fmla="*/ 572 h 1266"/>
                <a:gd name="T46" fmla="*/ 424 w 2164"/>
                <a:gd name="T47" fmla="*/ 560 h 1266"/>
                <a:gd name="T48" fmla="*/ 438 w 2164"/>
                <a:gd name="T49" fmla="*/ 520 h 1266"/>
                <a:gd name="T50" fmla="*/ 438 w 2164"/>
                <a:gd name="T51" fmla="*/ 450 h 1266"/>
                <a:gd name="T52" fmla="*/ 458 w 2164"/>
                <a:gd name="T53" fmla="*/ 334 h 1266"/>
                <a:gd name="T54" fmla="*/ 546 w 2164"/>
                <a:gd name="T55" fmla="*/ 172 h 1266"/>
                <a:gd name="T56" fmla="*/ 686 w 2164"/>
                <a:gd name="T57" fmla="*/ 58 h 1266"/>
                <a:gd name="T58" fmla="*/ 840 w 2164"/>
                <a:gd name="T59" fmla="*/ 6 h 1266"/>
                <a:gd name="T60" fmla="*/ 916 w 2164"/>
                <a:gd name="T61" fmla="*/ 0 h 1266"/>
                <a:gd name="T62" fmla="*/ 814 w 2164"/>
                <a:gd name="T63" fmla="*/ 544 h 1266"/>
                <a:gd name="T64" fmla="*/ 786 w 2164"/>
                <a:gd name="T65" fmla="*/ 566 h 1266"/>
                <a:gd name="T66" fmla="*/ 786 w 2164"/>
                <a:gd name="T67" fmla="*/ 614 h 1266"/>
                <a:gd name="T68" fmla="*/ 1058 w 2164"/>
                <a:gd name="T69" fmla="*/ 1072 h 1266"/>
                <a:gd name="T70" fmla="*/ 1094 w 2164"/>
                <a:gd name="T71" fmla="*/ 1076 h 1266"/>
                <a:gd name="T72" fmla="*/ 1124 w 2164"/>
                <a:gd name="T73" fmla="*/ 1054 h 1266"/>
                <a:gd name="T74" fmla="*/ 1384 w 2164"/>
                <a:gd name="T75" fmla="*/ 590 h 1266"/>
                <a:gd name="T76" fmla="*/ 1370 w 2164"/>
                <a:gd name="T77" fmla="*/ 556 h 1266"/>
                <a:gd name="T78" fmla="*/ 1246 w 2164"/>
                <a:gd name="T79" fmla="*/ 542 h 1266"/>
                <a:gd name="T80" fmla="*/ 1294 w 2164"/>
                <a:gd name="T81" fmla="*/ 194 h 1266"/>
                <a:gd name="T82" fmla="*/ 1362 w 2164"/>
                <a:gd name="T83" fmla="*/ 322 h 1266"/>
                <a:gd name="T84" fmla="*/ 1382 w 2164"/>
                <a:gd name="T85" fmla="*/ 406 h 1266"/>
                <a:gd name="T86" fmla="*/ 1408 w 2164"/>
                <a:gd name="T87" fmla="*/ 430 h 1266"/>
                <a:gd name="T88" fmla="*/ 1454 w 2164"/>
                <a:gd name="T89" fmla="*/ 426 h 1266"/>
                <a:gd name="T90" fmla="*/ 1542 w 2164"/>
                <a:gd name="T91" fmla="*/ 380 h 1266"/>
                <a:gd name="T92" fmla="*/ 1672 w 2164"/>
                <a:gd name="T93" fmla="*/ 352 h 1266"/>
                <a:gd name="T94" fmla="*/ 1796 w 2164"/>
                <a:gd name="T95" fmla="*/ 360 h 1266"/>
                <a:gd name="T96" fmla="*/ 1960 w 2164"/>
                <a:gd name="T97" fmla="*/ 428 h 1266"/>
                <a:gd name="T98" fmla="*/ 2084 w 2164"/>
                <a:gd name="T99" fmla="*/ 552 h 1266"/>
                <a:gd name="T100" fmla="*/ 2154 w 2164"/>
                <a:gd name="T101" fmla="*/ 716 h 1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164" h="1266">
                  <a:moveTo>
                    <a:pt x="2164" y="808"/>
                  </a:moveTo>
                  <a:lnTo>
                    <a:pt x="2164" y="808"/>
                  </a:lnTo>
                  <a:lnTo>
                    <a:pt x="2134" y="796"/>
                  </a:lnTo>
                  <a:lnTo>
                    <a:pt x="2106" y="784"/>
                  </a:lnTo>
                  <a:lnTo>
                    <a:pt x="2076" y="774"/>
                  </a:lnTo>
                  <a:lnTo>
                    <a:pt x="2046" y="768"/>
                  </a:lnTo>
                  <a:lnTo>
                    <a:pt x="2014" y="760"/>
                  </a:lnTo>
                  <a:lnTo>
                    <a:pt x="1984" y="756"/>
                  </a:lnTo>
                  <a:lnTo>
                    <a:pt x="1950" y="754"/>
                  </a:lnTo>
                  <a:lnTo>
                    <a:pt x="1918" y="752"/>
                  </a:lnTo>
                  <a:lnTo>
                    <a:pt x="1918" y="752"/>
                  </a:lnTo>
                  <a:lnTo>
                    <a:pt x="1870" y="754"/>
                  </a:lnTo>
                  <a:lnTo>
                    <a:pt x="1824" y="760"/>
                  </a:lnTo>
                  <a:lnTo>
                    <a:pt x="1778" y="770"/>
                  </a:lnTo>
                  <a:lnTo>
                    <a:pt x="1734" y="782"/>
                  </a:lnTo>
                  <a:lnTo>
                    <a:pt x="1692" y="798"/>
                  </a:lnTo>
                  <a:lnTo>
                    <a:pt x="1652" y="818"/>
                  </a:lnTo>
                  <a:lnTo>
                    <a:pt x="1612" y="842"/>
                  </a:lnTo>
                  <a:lnTo>
                    <a:pt x="1576" y="866"/>
                  </a:lnTo>
                  <a:lnTo>
                    <a:pt x="1540" y="894"/>
                  </a:lnTo>
                  <a:lnTo>
                    <a:pt x="1508" y="926"/>
                  </a:lnTo>
                  <a:lnTo>
                    <a:pt x="1478" y="960"/>
                  </a:lnTo>
                  <a:lnTo>
                    <a:pt x="1450" y="996"/>
                  </a:lnTo>
                  <a:lnTo>
                    <a:pt x="1426" y="1034"/>
                  </a:lnTo>
                  <a:lnTo>
                    <a:pt x="1404" y="1074"/>
                  </a:lnTo>
                  <a:lnTo>
                    <a:pt x="1386" y="1116"/>
                  </a:lnTo>
                  <a:lnTo>
                    <a:pt x="1372" y="1160"/>
                  </a:lnTo>
                  <a:lnTo>
                    <a:pt x="1372" y="1160"/>
                  </a:lnTo>
                  <a:lnTo>
                    <a:pt x="1342" y="1148"/>
                  </a:lnTo>
                  <a:lnTo>
                    <a:pt x="1312" y="1136"/>
                  </a:lnTo>
                  <a:lnTo>
                    <a:pt x="1282" y="1126"/>
                  </a:lnTo>
                  <a:lnTo>
                    <a:pt x="1252" y="1118"/>
                  </a:lnTo>
                  <a:lnTo>
                    <a:pt x="1220" y="1112"/>
                  </a:lnTo>
                  <a:lnTo>
                    <a:pt x="1188" y="1106"/>
                  </a:lnTo>
                  <a:lnTo>
                    <a:pt x="1158" y="1104"/>
                  </a:lnTo>
                  <a:lnTo>
                    <a:pt x="1124" y="1102"/>
                  </a:lnTo>
                  <a:lnTo>
                    <a:pt x="1124" y="1102"/>
                  </a:lnTo>
                  <a:lnTo>
                    <a:pt x="1096" y="1104"/>
                  </a:lnTo>
                  <a:lnTo>
                    <a:pt x="1068" y="1106"/>
                  </a:lnTo>
                  <a:lnTo>
                    <a:pt x="1040" y="1110"/>
                  </a:lnTo>
                  <a:lnTo>
                    <a:pt x="1012" y="1114"/>
                  </a:lnTo>
                  <a:lnTo>
                    <a:pt x="986" y="1120"/>
                  </a:lnTo>
                  <a:lnTo>
                    <a:pt x="960" y="1128"/>
                  </a:lnTo>
                  <a:lnTo>
                    <a:pt x="934" y="1136"/>
                  </a:lnTo>
                  <a:lnTo>
                    <a:pt x="908" y="1146"/>
                  </a:lnTo>
                  <a:lnTo>
                    <a:pt x="884" y="1158"/>
                  </a:lnTo>
                  <a:lnTo>
                    <a:pt x="860" y="1170"/>
                  </a:lnTo>
                  <a:lnTo>
                    <a:pt x="836" y="1184"/>
                  </a:lnTo>
                  <a:lnTo>
                    <a:pt x="814" y="1198"/>
                  </a:lnTo>
                  <a:lnTo>
                    <a:pt x="792" y="1214"/>
                  </a:lnTo>
                  <a:lnTo>
                    <a:pt x="772" y="1230"/>
                  </a:lnTo>
                  <a:lnTo>
                    <a:pt x="752" y="1248"/>
                  </a:lnTo>
                  <a:lnTo>
                    <a:pt x="732" y="1266"/>
                  </a:lnTo>
                  <a:lnTo>
                    <a:pt x="348" y="1266"/>
                  </a:lnTo>
                  <a:lnTo>
                    <a:pt x="348" y="1266"/>
                  </a:lnTo>
                  <a:lnTo>
                    <a:pt x="312" y="1264"/>
                  </a:lnTo>
                  <a:lnTo>
                    <a:pt x="278" y="1260"/>
                  </a:lnTo>
                  <a:lnTo>
                    <a:pt x="244" y="1252"/>
                  </a:lnTo>
                  <a:lnTo>
                    <a:pt x="212" y="1240"/>
                  </a:lnTo>
                  <a:lnTo>
                    <a:pt x="182" y="1224"/>
                  </a:lnTo>
                  <a:lnTo>
                    <a:pt x="154" y="1208"/>
                  </a:lnTo>
                  <a:lnTo>
                    <a:pt x="126" y="1188"/>
                  </a:lnTo>
                  <a:lnTo>
                    <a:pt x="102" y="1164"/>
                  </a:lnTo>
                  <a:lnTo>
                    <a:pt x="80" y="1140"/>
                  </a:lnTo>
                  <a:lnTo>
                    <a:pt x="60" y="1114"/>
                  </a:lnTo>
                  <a:lnTo>
                    <a:pt x="42" y="1084"/>
                  </a:lnTo>
                  <a:lnTo>
                    <a:pt x="28" y="1054"/>
                  </a:lnTo>
                  <a:lnTo>
                    <a:pt x="16" y="1022"/>
                  </a:lnTo>
                  <a:lnTo>
                    <a:pt x="8" y="988"/>
                  </a:lnTo>
                  <a:lnTo>
                    <a:pt x="2" y="954"/>
                  </a:lnTo>
                  <a:lnTo>
                    <a:pt x="0" y="918"/>
                  </a:lnTo>
                  <a:lnTo>
                    <a:pt x="0" y="918"/>
                  </a:lnTo>
                  <a:lnTo>
                    <a:pt x="2" y="884"/>
                  </a:lnTo>
                  <a:lnTo>
                    <a:pt x="8" y="848"/>
                  </a:lnTo>
                  <a:lnTo>
                    <a:pt x="16" y="816"/>
                  </a:lnTo>
                  <a:lnTo>
                    <a:pt x="28" y="784"/>
                  </a:lnTo>
                  <a:lnTo>
                    <a:pt x="42" y="754"/>
                  </a:lnTo>
                  <a:lnTo>
                    <a:pt x="60" y="724"/>
                  </a:lnTo>
                  <a:lnTo>
                    <a:pt x="80" y="698"/>
                  </a:lnTo>
                  <a:lnTo>
                    <a:pt x="102" y="672"/>
                  </a:lnTo>
                  <a:lnTo>
                    <a:pt x="126" y="650"/>
                  </a:lnTo>
                  <a:lnTo>
                    <a:pt x="154" y="630"/>
                  </a:lnTo>
                  <a:lnTo>
                    <a:pt x="182" y="612"/>
                  </a:lnTo>
                  <a:lnTo>
                    <a:pt x="212" y="598"/>
                  </a:lnTo>
                  <a:lnTo>
                    <a:pt x="244" y="586"/>
                  </a:lnTo>
                  <a:lnTo>
                    <a:pt x="278" y="578"/>
                  </a:lnTo>
                  <a:lnTo>
                    <a:pt x="312" y="572"/>
                  </a:lnTo>
                  <a:lnTo>
                    <a:pt x="348" y="570"/>
                  </a:lnTo>
                  <a:lnTo>
                    <a:pt x="348" y="570"/>
                  </a:lnTo>
                  <a:lnTo>
                    <a:pt x="386" y="572"/>
                  </a:lnTo>
                  <a:lnTo>
                    <a:pt x="386" y="572"/>
                  </a:lnTo>
                  <a:lnTo>
                    <a:pt x="396" y="572"/>
                  </a:lnTo>
                  <a:lnTo>
                    <a:pt x="406" y="570"/>
                  </a:lnTo>
                  <a:lnTo>
                    <a:pt x="416" y="566"/>
                  </a:lnTo>
                  <a:lnTo>
                    <a:pt x="424" y="560"/>
                  </a:lnTo>
                  <a:lnTo>
                    <a:pt x="424" y="560"/>
                  </a:lnTo>
                  <a:lnTo>
                    <a:pt x="432" y="552"/>
                  </a:lnTo>
                  <a:lnTo>
                    <a:pt x="436" y="542"/>
                  </a:lnTo>
                  <a:lnTo>
                    <a:pt x="438" y="532"/>
                  </a:lnTo>
                  <a:lnTo>
                    <a:pt x="438" y="520"/>
                  </a:lnTo>
                  <a:lnTo>
                    <a:pt x="438" y="520"/>
                  </a:lnTo>
                  <a:lnTo>
                    <a:pt x="436" y="474"/>
                  </a:lnTo>
                  <a:lnTo>
                    <a:pt x="436" y="474"/>
                  </a:lnTo>
                  <a:lnTo>
                    <a:pt x="438" y="450"/>
                  </a:lnTo>
                  <a:lnTo>
                    <a:pt x="438" y="426"/>
                  </a:lnTo>
                  <a:lnTo>
                    <a:pt x="442" y="402"/>
                  </a:lnTo>
                  <a:lnTo>
                    <a:pt x="446" y="380"/>
                  </a:lnTo>
                  <a:lnTo>
                    <a:pt x="458" y="334"/>
                  </a:lnTo>
                  <a:lnTo>
                    <a:pt x="474" y="290"/>
                  </a:lnTo>
                  <a:lnTo>
                    <a:pt x="494" y="248"/>
                  </a:lnTo>
                  <a:lnTo>
                    <a:pt x="518" y="210"/>
                  </a:lnTo>
                  <a:lnTo>
                    <a:pt x="546" y="172"/>
                  </a:lnTo>
                  <a:lnTo>
                    <a:pt x="576" y="140"/>
                  </a:lnTo>
                  <a:lnTo>
                    <a:pt x="610" y="108"/>
                  </a:lnTo>
                  <a:lnTo>
                    <a:pt x="646" y="82"/>
                  </a:lnTo>
                  <a:lnTo>
                    <a:pt x="686" y="58"/>
                  </a:lnTo>
                  <a:lnTo>
                    <a:pt x="726" y="38"/>
                  </a:lnTo>
                  <a:lnTo>
                    <a:pt x="770" y="22"/>
                  </a:lnTo>
                  <a:lnTo>
                    <a:pt x="816" y="10"/>
                  </a:lnTo>
                  <a:lnTo>
                    <a:pt x="840" y="6"/>
                  </a:lnTo>
                  <a:lnTo>
                    <a:pt x="862" y="2"/>
                  </a:lnTo>
                  <a:lnTo>
                    <a:pt x="888" y="0"/>
                  </a:lnTo>
                  <a:lnTo>
                    <a:pt x="912" y="0"/>
                  </a:lnTo>
                  <a:lnTo>
                    <a:pt x="916" y="0"/>
                  </a:lnTo>
                  <a:lnTo>
                    <a:pt x="916" y="542"/>
                  </a:lnTo>
                  <a:lnTo>
                    <a:pt x="828" y="542"/>
                  </a:lnTo>
                  <a:lnTo>
                    <a:pt x="828" y="542"/>
                  </a:lnTo>
                  <a:lnTo>
                    <a:pt x="814" y="544"/>
                  </a:lnTo>
                  <a:lnTo>
                    <a:pt x="804" y="548"/>
                  </a:lnTo>
                  <a:lnTo>
                    <a:pt x="794" y="556"/>
                  </a:lnTo>
                  <a:lnTo>
                    <a:pt x="786" y="566"/>
                  </a:lnTo>
                  <a:lnTo>
                    <a:pt x="786" y="566"/>
                  </a:lnTo>
                  <a:lnTo>
                    <a:pt x="780" y="578"/>
                  </a:lnTo>
                  <a:lnTo>
                    <a:pt x="780" y="590"/>
                  </a:lnTo>
                  <a:lnTo>
                    <a:pt x="780" y="602"/>
                  </a:lnTo>
                  <a:lnTo>
                    <a:pt x="786" y="614"/>
                  </a:lnTo>
                  <a:lnTo>
                    <a:pt x="1040" y="1054"/>
                  </a:lnTo>
                  <a:lnTo>
                    <a:pt x="1040" y="1054"/>
                  </a:lnTo>
                  <a:lnTo>
                    <a:pt x="1048" y="1064"/>
                  </a:lnTo>
                  <a:lnTo>
                    <a:pt x="1058" y="1072"/>
                  </a:lnTo>
                  <a:lnTo>
                    <a:pt x="1068" y="1076"/>
                  </a:lnTo>
                  <a:lnTo>
                    <a:pt x="1082" y="1078"/>
                  </a:lnTo>
                  <a:lnTo>
                    <a:pt x="1082" y="1078"/>
                  </a:lnTo>
                  <a:lnTo>
                    <a:pt x="1094" y="1076"/>
                  </a:lnTo>
                  <a:lnTo>
                    <a:pt x="1106" y="1072"/>
                  </a:lnTo>
                  <a:lnTo>
                    <a:pt x="1106" y="1072"/>
                  </a:lnTo>
                  <a:lnTo>
                    <a:pt x="1116" y="1064"/>
                  </a:lnTo>
                  <a:lnTo>
                    <a:pt x="1124" y="1054"/>
                  </a:lnTo>
                  <a:lnTo>
                    <a:pt x="1378" y="614"/>
                  </a:lnTo>
                  <a:lnTo>
                    <a:pt x="1378" y="614"/>
                  </a:lnTo>
                  <a:lnTo>
                    <a:pt x="1382" y="602"/>
                  </a:lnTo>
                  <a:lnTo>
                    <a:pt x="1384" y="590"/>
                  </a:lnTo>
                  <a:lnTo>
                    <a:pt x="1382" y="578"/>
                  </a:lnTo>
                  <a:lnTo>
                    <a:pt x="1378" y="566"/>
                  </a:lnTo>
                  <a:lnTo>
                    <a:pt x="1378" y="566"/>
                  </a:lnTo>
                  <a:lnTo>
                    <a:pt x="1370" y="556"/>
                  </a:lnTo>
                  <a:lnTo>
                    <a:pt x="1360" y="548"/>
                  </a:lnTo>
                  <a:lnTo>
                    <a:pt x="1348" y="544"/>
                  </a:lnTo>
                  <a:lnTo>
                    <a:pt x="1336" y="542"/>
                  </a:lnTo>
                  <a:lnTo>
                    <a:pt x="1246" y="542"/>
                  </a:lnTo>
                  <a:lnTo>
                    <a:pt x="1246" y="138"/>
                  </a:lnTo>
                  <a:lnTo>
                    <a:pt x="1246" y="138"/>
                  </a:lnTo>
                  <a:lnTo>
                    <a:pt x="1272" y="166"/>
                  </a:lnTo>
                  <a:lnTo>
                    <a:pt x="1294" y="194"/>
                  </a:lnTo>
                  <a:lnTo>
                    <a:pt x="1314" y="224"/>
                  </a:lnTo>
                  <a:lnTo>
                    <a:pt x="1332" y="256"/>
                  </a:lnTo>
                  <a:lnTo>
                    <a:pt x="1348" y="288"/>
                  </a:lnTo>
                  <a:lnTo>
                    <a:pt x="1362" y="322"/>
                  </a:lnTo>
                  <a:lnTo>
                    <a:pt x="1372" y="358"/>
                  </a:lnTo>
                  <a:lnTo>
                    <a:pt x="1380" y="394"/>
                  </a:lnTo>
                  <a:lnTo>
                    <a:pt x="1380" y="394"/>
                  </a:lnTo>
                  <a:lnTo>
                    <a:pt x="1382" y="406"/>
                  </a:lnTo>
                  <a:lnTo>
                    <a:pt x="1388" y="416"/>
                  </a:lnTo>
                  <a:lnTo>
                    <a:pt x="1398" y="424"/>
                  </a:lnTo>
                  <a:lnTo>
                    <a:pt x="1408" y="430"/>
                  </a:lnTo>
                  <a:lnTo>
                    <a:pt x="1408" y="430"/>
                  </a:lnTo>
                  <a:lnTo>
                    <a:pt x="1418" y="432"/>
                  </a:lnTo>
                  <a:lnTo>
                    <a:pt x="1430" y="434"/>
                  </a:lnTo>
                  <a:lnTo>
                    <a:pt x="1442" y="430"/>
                  </a:lnTo>
                  <a:lnTo>
                    <a:pt x="1454" y="426"/>
                  </a:lnTo>
                  <a:lnTo>
                    <a:pt x="1454" y="426"/>
                  </a:lnTo>
                  <a:lnTo>
                    <a:pt x="1482" y="408"/>
                  </a:lnTo>
                  <a:lnTo>
                    <a:pt x="1512" y="392"/>
                  </a:lnTo>
                  <a:lnTo>
                    <a:pt x="1542" y="380"/>
                  </a:lnTo>
                  <a:lnTo>
                    <a:pt x="1574" y="370"/>
                  </a:lnTo>
                  <a:lnTo>
                    <a:pt x="1606" y="360"/>
                  </a:lnTo>
                  <a:lnTo>
                    <a:pt x="1638" y="354"/>
                  </a:lnTo>
                  <a:lnTo>
                    <a:pt x="1672" y="352"/>
                  </a:lnTo>
                  <a:lnTo>
                    <a:pt x="1704" y="350"/>
                  </a:lnTo>
                  <a:lnTo>
                    <a:pt x="1704" y="350"/>
                  </a:lnTo>
                  <a:lnTo>
                    <a:pt x="1752" y="352"/>
                  </a:lnTo>
                  <a:lnTo>
                    <a:pt x="1796" y="360"/>
                  </a:lnTo>
                  <a:lnTo>
                    <a:pt x="1840" y="370"/>
                  </a:lnTo>
                  <a:lnTo>
                    <a:pt x="1882" y="386"/>
                  </a:lnTo>
                  <a:lnTo>
                    <a:pt x="1922" y="406"/>
                  </a:lnTo>
                  <a:lnTo>
                    <a:pt x="1960" y="428"/>
                  </a:lnTo>
                  <a:lnTo>
                    <a:pt x="1996" y="454"/>
                  </a:lnTo>
                  <a:lnTo>
                    <a:pt x="2028" y="484"/>
                  </a:lnTo>
                  <a:lnTo>
                    <a:pt x="2058" y="516"/>
                  </a:lnTo>
                  <a:lnTo>
                    <a:pt x="2084" y="552"/>
                  </a:lnTo>
                  <a:lnTo>
                    <a:pt x="2108" y="590"/>
                  </a:lnTo>
                  <a:lnTo>
                    <a:pt x="2126" y="630"/>
                  </a:lnTo>
                  <a:lnTo>
                    <a:pt x="2142" y="672"/>
                  </a:lnTo>
                  <a:lnTo>
                    <a:pt x="2154" y="716"/>
                  </a:lnTo>
                  <a:lnTo>
                    <a:pt x="2160" y="762"/>
                  </a:lnTo>
                  <a:lnTo>
                    <a:pt x="2164" y="808"/>
                  </a:lnTo>
                  <a:lnTo>
                    <a:pt x="2164" y="808"/>
                  </a:lnTo>
                </a:path>
              </a:pathLst>
            </a:custGeom>
            <a:noFill/>
            <a:ln w="9525">
              <a:noFill/>
              <a:round/>
              <a:headEnd/>
              <a:tailEnd/>
            </a:ln>
            <a:extLst>
              <a:ext uri="{909E8E84-426E-40DD-AFC4-6F175D3DCCD1}">
                <a14:hiddenFill xmlns:a14="http://schemas.microsoft.com/office/drawing/2010/main">
                  <a:solidFill>
                    <a:srgbClr val="FFFFFF"/>
                  </a:solidFill>
                </a14:hiddenFill>
              </a:ext>
            </a:extLst>
          </p:spPr>
          <p:txBody>
            <a:bodyPr vert="horz" wrap="square" lIns="91440" tIns="45721" rIns="91440" bIns="45721" numCol="1" anchor="t" anchorCtr="0" compatLnSpc="1">
              <a:prstTxWarp prst="textNoShape">
                <a:avLst/>
              </a:prstTxWarp>
            </a:bodyPr>
            <a:lstStyle/>
            <a:p>
              <a:endParaRPr lang="en-US" sz="1801"/>
            </a:p>
          </p:txBody>
        </p:sp>
        <p:sp>
          <p:nvSpPr>
            <p:cNvPr id="94" name="Line 120"/>
            <p:cNvSpPr>
              <a:spLocks noChangeShapeType="1"/>
            </p:cNvSpPr>
            <p:nvPr/>
          </p:nvSpPr>
          <p:spPr bwMode="auto">
            <a:xfrm>
              <a:off x="9342438" y="4073525"/>
              <a:ext cx="0" cy="0"/>
            </a:xfrm>
            <a:prstGeom prst="line">
              <a:avLst/>
            </a:prstGeom>
            <a:noFill/>
            <a:ln w="9525">
              <a:noFill/>
              <a:round/>
              <a:headEnd/>
              <a:tailEnd/>
            </a:ln>
            <a:extLst>
              <a:ext uri="{909E8E84-426E-40DD-AFC4-6F175D3DCCD1}">
                <a14:hiddenFill xmlns:a14="http://schemas.microsoft.com/office/drawing/2010/main">
                  <a:noFill/>
                </a14:hiddenFill>
              </a:ext>
            </a:extLst>
          </p:spPr>
          <p:txBody>
            <a:bodyPr vert="horz" wrap="square" lIns="91440" tIns="45721" rIns="91440" bIns="45721" numCol="1" anchor="t" anchorCtr="0" compatLnSpc="1">
              <a:prstTxWarp prst="textNoShape">
                <a:avLst/>
              </a:prstTxWarp>
            </a:bodyPr>
            <a:lstStyle/>
            <a:p>
              <a:endParaRPr lang="en-US" sz="1801"/>
            </a:p>
          </p:txBody>
        </p:sp>
      </p:grpSp>
      <p:grpSp>
        <p:nvGrpSpPr>
          <p:cNvPr id="95" name="Group 94"/>
          <p:cNvGrpSpPr/>
          <p:nvPr userDrawn="1"/>
        </p:nvGrpSpPr>
        <p:grpSpPr>
          <a:xfrm>
            <a:off x="11280000" y="3501000"/>
            <a:ext cx="407244" cy="419100"/>
            <a:chOff x="6102350" y="3025775"/>
            <a:chExt cx="2344738" cy="2413000"/>
          </a:xfrm>
        </p:grpSpPr>
        <p:sp>
          <p:nvSpPr>
            <p:cNvPr id="96" name="Freeform 6"/>
            <p:cNvSpPr>
              <a:spLocks noEditPoints="1"/>
            </p:cNvSpPr>
            <p:nvPr/>
          </p:nvSpPr>
          <p:spPr bwMode="auto">
            <a:xfrm>
              <a:off x="6607174" y="3767138"/>
              <a:ext cx="1335090" cy="373062"/>
            </a:xfrm>
            <a:custGeom>
              <a:avLst/>
              <a:gdLst>
                <a:gd name="T0" fmla="*/ 798 w 841"/>
                <a:gd name="T1" fmla="*/ 0 h 235"/>
                <a:gd name="T2" fmla="*/ 48 w 841"/>
                <a:gd name="T3" fmla="*/ 0 h 235"/>
                <a:gd name="T4" fmla="*/ 48 w 841"/>
                <a:gd name="T5" fmla="*/ 0 h 235"/>
                <a:gd name="T6" fmla="*/ 28 w 841"/>
                <a:gd name="T7" fmla="*/ 0 h 235"/>
                <a:gd name="T8" fmla="*/ 14 w 841"/>
                <a:gd name="T9" fmla="*/ 9 h 235"/>
                <a:gd name="T10" fmla="*/ 4 w 841"/>
                <a:gd name="T11" fmla="*/ 24 h 235"/>
                <a:gd name="T12" fmla="*/ 0 w 841"/>
                <a:gd name="T13" fmla="*/ 43 h 235"/>
                <a:gd name="T14" fmla="*/ 0 w 841"/>
                <a:gd name="T15" fmla="*/ 192 h 235"/>
                <a:gd name="T16" fmla="*/ 0 w 841"/>
                <a:gd name="T17" fmla="*/ 192 h 235"/>
                <a:gd name="T18" fmla="*/ 4 w 841"/>
                <a:gd name="T19" fmla="*/ 206 h 235"/>
                <a:gd name="T20" fmla="*/ 14 w 841"/>
                <a:gd name="T21" fmla="*/ 221 h 235"/>
                <a:gd name="T22" fmla="*/ 28 w 841"/>
                <a:gd name="T23" fmla="*/ 230 h 235"/>
                <a:gd name="T24" fmla="*/ 48 w 841"/>
                <a:gd name="T25" fmla="*/ 235 h 235"/>
                <a:gd name="T26" fmla="*/ 798 w 841"/>
                <a:gd name="T27" fmla="*/ 235 h 235"/>
                <a:gd name="T28" fmla="*/ 798 w 841"/>
                <a:gd name="T29" fmla="*/ 235 h 235"/>
                <a:gd name="T30" fmla="*/ 813 w 841"/>
                <a:gd name="T31" fmla="*/ 230 h 235"/>
                <a:gd name="T32" fmla="*/ 827 w 841"/>
                <a:gd name="T33" fmla="*/ 221 h 235"/>
                <a:gd name="T34" fmla="*/ 837 w 841"/>
                <a:gd name="T35" fmla="*/ 206 h 235"/>
                <a:gd name="T36" fmla="*/ 841 w 841"/>
                <a:gd name="T37" fmla="*/ 192 h 235"/>
                <a:gd name="T38" fmla="*/ 841 w 841"/>
                <a:gd name="T39" fmla="*/ 43 h 235"/>
                <a:gd name="T40" fmla="*/ 841 w 841"/>
                <a:gd name="T41" fmla="*/ 43 h 235"/>
                <a:gd name="T42" fmla="*/ 837 w 841"/>
                <a:gd name="T43" fmla="*/ 24 h 235"/>
                <a:gd name="T44" fmla="*/ 827 w 841"/>
                <a:gd name="T45" fmla="*/ 9 h 235"/>
                <a:gd name="T46" fmla="*/ 813 w 841"/>
                <a:gd name="T47" fmla="*/ 0 h 235"/>
                <a:gd name="T48" fmla="*/ 798 w 841"/>
                <a:gd name="T49" fmla="*/ 0 h 235"/>
                <a:gd name="T50" fmla="*/ 798 w 841"/>
                <a:gd name="T51" fmla="*/ 0 h 235"/>
                <a:gd name="T52" fmla="*/ 81 w 841"/>
                <a:gd name="T53" fmla="*/ 101 h 235"/>
                <a:gd name="T54" fmla="*/ 81 w 841"/>
                <a:gd name="T55" fmla="*/ 101 h 235"/>
                <a:gd name="T56" fmla="*/ 72 w 841"/>
                <a:gd name="T57" fmla="*/ 101 h 235"/>
                <a:gd name="T58" fmla="*/ 62 w 841"/>
                <a:gd name="T59" fmla="*/ 96 h 235"/>
                <a:gd name="T60" fmla="*/ 57 w 841"/>
                <a:gd name="T61" fmla="*/ 86 h 235"/>
                <a:gd name="T62" fmla="*/ 52 w 841"/>
                <a:gd name="T63" fmla="*/ 77 h 235"/>
                <a:gd name="T64" fmla="*/ 52 w 841"/>
                <a:gd name="T65" fmla="*/ 77 h 235"/>
                <a:gd name="T66" fmla="*/ 57 w 841"/>
                <a:gd name="T67" fmla="*/ 62 h 235"/>
                <a:gd name="T68" fmla="*/ 62 w 841"/>
                <a:gd name="T69" fmla="*/ 57 h 235"/>
                <a:gd name="T70" fmla="*/ 72 w 841"/>
                <a:gd name="T71" fmla="*/ 48 h 235"/>
                <a:gd name="T72" fmla="*/ 81 w 841"/>
                <a:gd name="T73" fmla="*/ 48 h 235"/>
                <a:gd name="T74" fmla="*/ 81 w 841"/>
                <a:gd name="T75" fmla="*/ 48 h 235"/>
                <a:gd name="T76" fmla="*/ 91 w 841"/>
                <a:gd name="T77" fmla="*/ 48 h 235"/>
                <a:gd name="T78" fmla="*/ 101 w 841"/>
                <a:gd name="T79" fmla="*/ 57 h 235"/>
                <a:gd name="T80" fmla="*/ 105 w 841"/>
                <a:gd name="T81" fmla="*/ 62 h 235"/>
                <a:gd name="T82" fmla="*/ 105 w 841"/>
                <a:gd name="T83" fmla="*/ 77 h 235"/>
                <a:gd name="T84" fmla="*/ 105 w 841"/>
                <a:gd name="T85" fmla="*/ 77 h 235"/>
                <a:gd name="T86" fmla="*/ 105 w 841"/>
                <a:gd name="T87" fmla="*/ 86 h 235"/>
                <a:gd name="T88" fmla="*/ 101 w 841"/>
                <a:gd name="T89" fmla="*/ 96 h 235"/>
                <a:gd name="T90" fmla="*/ 91 w 841"/>
                <a:gd name="T91" fmla="*/ 101 h 235"/>
                <a:gd name="T92" fmla="*/ 81 w 841"/>
                <a:gd name="T93" fmla="*/ 101 h 235"/>
                <a:gd name="T94" fmla="*/ 81 w 841"/>
                <a:gd name="T95" fmla="*/ 101 h 235"/>
                <a:gd name="T96" fmla="*/ 726 w 841"/>
                <a:gd name="T97" fmla="*/ 178 h 235"/>
                <a:gd name="T98" fmla="*/ 538 w 841"/>
                <a:gd name="T99" fmla="*/ 178 h 235"/>
                <a:gd name="T100" fmla="*/ 538 w 841"/>
                <a:gd name="T101" fmla="*/ 115 h 235"/>
                <a:gd name="T102" fmla="*/ 726 w 841"/>
                <a:gd name="T103" fmla="*/ 115 h 235"/>
                <a:gd name="T104" fmla="*/ 726 w 841"/>
                <a:gd name="T105" fmla="*/ 178 h 235"/>
                <a:gd name="T106" fmla="*/ 726 w 841"/>
                <a:gd name="T107" fmla="*/ 178 h 235"/>
                <a:gd name="T108" fmla="*/ 726 w 841"/>
                <a:gd name="T109" fmla="*/ 17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41" h="235">
                  <a:moveTo>
                    <a:pt x="798" y="0"/>
                  </a:moveTo>
                  <a:lnTo>
                    <a:pt x="48" y="0"/>
                  </a:lnTo>
                  <a:lnTo>
                    <a:pt x="48" y="0"/>
                  </a:lnTo>
                  <a:lnTo>
                    <a:pt x="28" y="0"/>
                  </a:lnTo>
                  <a:lnTo>
                    <a:pt x="14" y="9"/>
                  </a:lnTo>
                  <a:lnTo>
                    <a:pt x="4" y="24"/>
                  </a:lnTo>
                  <a:lnTo>
                    <a:pt x="0" y="43"/>
                  </a:lnTo>
                  <a:lnTo>
                    <a:pt x="0" y="192"/>
                  </a:lnTo>
                  <a:lnTo>
                    <a:pt x="0" y="192"/>
                  </a:lnTo>
                  <a:lnTo>
                    <a:pt x="4" y="206"/>
                  </a:lnTo>
                  <a:lnTo>
                    <a:pt x="14" y="221"/>
                  </a:lnTo>
                  <a:lnTo>
                    <a:pt x="28" y="230"/>
                  </a:lnTo>
                  <a:lnTo>
                    <a:pt x="48" y="235"/>
                  </a:lnTo>
                  <a:lnTo>
                    <a:pt x="798" y="235"/>
                  </a:lnTo>
                  <a:lnTo>
                    <a:pt x="798" y="235"/>
                  </a:lnTo>
                  <a:lnTo>
                    <a:pt x="813" y="230"/>
                  </a:lnTo>
                  <a:lnTo>
                    <a:pt x="827" y="221"/>
                  </a:lnTo>
                  <a:lnTo>
                    <a:pt x="837" y="206"/>
                  </a:lnTo>
                  <a:lnTo>
                    <a:pt x="841" y="192"/>
                  </a:lnTo>
                  <a:lnTo>
                    <a:pt x="841" y="43"/>
                  </a:lnTo>
                  <a:lnTo>
                    <a:pt x="841" y="43"/>
                  </a:lnTo>
                  <a:lnTo>
                    <a:pt x="837" y="24"/>
                  </a:lnTo>
                  <a:lnTo>
                    <a:pt x="827" y="9"/>
                  </a:lnTo>
                  <a:lnTo>
                    <a:pt x="813" y="0"/>
                  </a:lnTo>
                  <a:lnTo>
                    <a:pt x="798" y="0"/>
                  </a:lnTo>
                  <a:lnTo>
                    <a:pt x="798" y="0"/>
                  </a:lnTo>
                  <a:close/>
                  <a:moveTo>
                    <a:pt x="81" y="101"/>
                  </a:moveTo>
                  <a:lnTo>
                    <a:pt x="81" y="101"/>
                  </a:lnTo>
                  <a:lnTo>
                    <a:pt x="72" y="101"/>
                  </a:lnTo>
                  <a:lnTo>
                    <a:pt x="62" y="96"/>
                  </a:lnTo>
                  <a:lnTo>
                    <a:pt x="57" y="86"/>
                  </a:lnTo>
                  <a:lnTo>
                    <a:pt x="52" y="77"/>
                  </a:lnTo>
                  <a:lnTo>
                    <a:pt x="52" y="77"/>
                  </a:lnTo>
                  <a:lnTo>
                    <a:pt x="57" y="62"/>
                  </a:lnTo>
                  <a:lnTo>
                    <a:pt x="62" y="57"/>
                  </a:lnTo>
                  <a:lnTo>
                    <a:pt x="72" y="48"/>
                  </a:lnTo>
                  <a:lnTo>
                    <a:pt x="81" y="48"/>
                  </a:lnTo>
                  <a:lnTo>
                    <a:pt x="81" y="48"/>
                  </a:lnTo>
                  <a:lnTo>
                    <a:pt x="91" y="48"/>
                  </a:lnTo>
                  <a:lnTo>
                    <a:pt x="101" y="57"/>
                  </a:lnTo>
                  <a:lnTo>
                    <a:pt x="105" y="62"/>
                  </a:lnTo>
                  <a:lnTo>
                    <a:pt x="105" y="77"/>
                  </a:lnTo>
                  <a:lnTo>
                    <a:pt x="105" y="77"/>
                  </a:lnTo>
                  <a:lnTo>
                    <a:pt x="105" y="86"/>
                  </a:lnTo>
                  <a:lnTo>
                    <a:pt x="101" y="96"/>
                  </a:lnTo>
                  <a:lnTo>
                    <a:pt x="91" y="101"/>
                  </a:lnTo>
                  <a:lnTo>
                    <a:pt x="81" y="101"/>
                  </a:lnTo>
                  <a:lnTo>
                    <a:pt x="81" y="101"/>
                  </a:lnTo>
                  <a:close/>
                  <a:moveTo>
                    <a:pt x="726" y="178"/>
                  </a:moveTo>
                  <a:lnTo>
                    <a:pt x="538" y="178"/>
                  </a:lnTo>
                  <a:lnTo>
                    <a:pt x="538" y="115"/>
                  </a:lnTo>
                  <a:lnTo>
                    <a:pt x="726" y="115"/>
                  </a:lnTo>
                  <a:lnTo>
                    <a:pt x="726" y="178"/>
                  </a:lnTo>
                  <a:close/>
                  <a:moveTo>
                    <a:pt x="726" y="178"/>
                  </a:moveTo>
                  <a:lnTo>
                    <a:pt x="726" y="178"/>
                  </a:lnTo>
                  <a:close/>
                </a:path>
              </a:pathLst>
            </a:custGeom>
            <a:solidFill>
              <a:schemeClr val="accent1">
                <a:lumMod val="40000"/>
                <a:lumOff val="60000"/>
              </a:schemeClr>
            </a:solidFill>
            <a:ln>
              <a:noFill/>
            </a:ln>
          </p:spPr>
          <p:txBody>
            <a:bodyPr vert="horz" wrap="square" lIns="91440" tIns="45721" rIns="91440" bIns="45721" numCol="1" anchor="t" anchorCtr="0" compatLnSpc="1">
              <a:prstTxWarp prst="textNoShape">
                <a:avLst/>
              </a:prstTxWarp>
            </a:bodyPr>
            <a:lstStyle/>
            <a:p>
              <a:endParaRPr lang="en-US" sz="1801"/>
            </a:p>
          </p:txBody>
        </p:sp>
        <p:sp>
          <p:nvSpPr>
            <p:cNvPr id="97" name="Freeform 7"/>
            <p:cNvSpPr>
              <a:spLocks/>
            </p:cNvSpPr>
            <p:nvPr/>
          </p:nvSpPr>
          <p:spPr bwMode="auto">
            <a:xfrm>
              <a:off x="6607175" y="3767138"/>
              <a:ext cx="1335088" cy="373063"/>
            </a:xfrm>
            <a:custGeom>
              <a:avLst/>
              <a:gdLst>
                <a:gd name="T0" fmla="*/ 798 w 841"/>
                <a:gd name="T1" fmla="*/ 0 h 235"/>
                <a:gd name="T2" fmla="*/ 48 w 841"/>
                <a:gd name="T3" fmla="*/ 0 h 235"/>
                <a:gd name="T4" fmla="*/ 48 w 841"/>
                <a:gd name="T5" fmla="*/ 0 h 235"/>
                <a:gd name="T6" fmla="*/ 28 w 841"/>
                <a:gd name="T7" fmla="*/ 0 h 235"/>
                <a:gd name="T8" fmla="*/ 14 w 841"/>
                <a:gd name="T9" fmla="*/ 9 h 235"/>
                <a:gd name="T10" fmla="*/ 4 w 841"/>
                <a:gd name="T11" fmla="*/ 24 h 235"/>
                <a:gd name="T12" fmla="*/ 0 w 841"/>
                <a:gd name="T13" fmla="*/ 43 h 235"/>
                <a:gd name="T14" fmla="*/ 0 w 841"/>
                <a:gd name="T15" fmla="*/ 192 h 235"/>
                <a:gd name="T16" fmla="*/ 0 w 841"/>
                <a:gd name="T17" fmla="*/ 192 h 235"/>
                <a:gd name="T18" fmla="*/ 4 w 841"/>
                <a:gd name="T19" fmla="*/ 206 h 235"/>
                <a:gd name="T20" fmla="*/ 14 w 841"/>
                <a:gd name="T21" fmla="*/ 221 h 235"/>
                <a:gd name="T22" fmla="*/ 28 w 841"/>
                <a:gd name="T23" fmla="*/ 230 h 235"/>
                <a:gd name="T24" fmla="*/ 48 w 841"/>
                <a:gd name="T25" fmla="*/ 235 h 235"/>
                <a:gd name="T26" fmla="*/ 798 w 841"/>
                <a:gd name="T27" fmla="*/ 235 h 235"/>
                <a:gd name="T28" fmla="*/ 798 w 841"/>
                <a:gd name="T29" fmla="*/ 235 h 235"/>
                <a:gd name="T30" fmla="*/ 813 w 841"/>
                <a:gd name="T31" fmla="*/ 230 h 235"/>
                <a:gd name="T32" fmla="*/ 827 w 841"/>
                <a:gd name="T33" fmla="*/ 221 h 235"/>
                <a:gd name="T34" fmla="*/ 837 w 841"/>
                <a:gd name="T35" fmla="*/ 206 h 235"/>
                <a:gd name="T36" fmla="*/ 841 w 841"/>
                <a:gd name="T37" fmla="*/ 192 h 235"/>
                <a:gd name="T38" fmla="*/ 841 w 841"/>
                <a:gd name="T39" fmla="*/ 43 h 235"/>
                <a:gd name="T40" fmla="*/ 841 w 841"/>
                <a:gd name="T41" fmla="*/ 43 h 235"/>
                <a:gd name="T42" fmla="*/ 837 w 841"/>
                <a:gd name="T43" fmla="*/ 24 h 235"/>
                <a:gd name="T44" fmla="*/ 827 w 841"/>
                <a:gd name="T45" fmla="*/ 9 h 235"/>
                <a:gd name="T46" fmla="*/ 813 w 841"/>
                <a:gd name="T47" fmla="*/ 0 h 235"/>
                <a:gd name="T48" fmla="*/ 798 w 841"/>
                <a:gd name="T49" fmla="*/ 0 h 235"/>
                <a:gd name="T50" fmla="*/ 798 w 841"/>
                <a:gd name="T51" fmla="*/ 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41" h="235">
                  <a:moveTo>
                    <a:pt x="798" y="0"/>
                  </a:moveTo>
                  <a:lnTo>
                    <a:pt x="48" y="0"/>
                  </a:lnTo>
                  <a:lnTo>
                    <a:pt x="48" y="0"/>
                  </a:lnTo>
                  <a:lnTo>
                    <a:pt x="28" y="0"/>
                  </a:lnTo>
                  <a:lnTo>
                    <a:pt x="14" y="9"/>
                  </a:lnTo>
                  <a:lnTo>
                    <a:pt x="4" y="24"/>
                  </a:lnTo>
                  <a:lnTo>
                    <a:pt x="0" y="43"/>
                  </a:lnTo>
                  <a:lnTo>
                    <a:pt x="0" y="192"/>
                  </a:lnTo>
                  <a:lnTo>
                    <a:pt x="0" y="192"/>
                  </a:lnTo>
                  <a:lnTo>
                    <a:pt x="4" y="206"/>
                  </a:lnTo>
                  <a:lnTo>
                    <a:pt x="14" y="221"/>
                  </a:lnTo>
                  <a:lnTo>
                    <a:pt x="28" y="230"/>
                  </a:lnTo>
                  <a:lnTo>
                    <a:pt x="48" y="235"/>
                  </a:lnTo>
                  <a:lnTo>
                    <a:pt x="798" y="235"/>
                  </a:lnTo>
                  <a:lnTo>
                    <a:pt x="798" y="235"/>
                  </a:lnTo>
                  <a:lnTo>
                    <a:pt x="813" y="230"/>
                  </a:lnTo>
                  <a:lnTo>
                    <a:pt x="827" y="221"/>
                  </a:lnTo>
                  <a:lnTo>
                    <a:pt x="837" y="206"/>
                  </a:lnTo>
                  <a:lnTo>
                    <a:pt x="841" y="192"/>
                  </a:lnTo>
                  <a:lnTo>
                    <a:pt x="841" y="43"/>
                  </a:lnTo>
                  <a:lnTo>
                    <a:pt x="841" y="43"/>
                  </a:lnTo>
                  <a:lnTo>
                    <a:pt x="837" y="24"/>
                  </a:lnTo>
                  <a:lnTo>
                    <a:pt x="827" y="9"/>
                  </a:lnTo>
                  <a:lnTo>
                    <a:pt x="813" y="0"/>
                  </a:lnTo>
                  <a:lnTo>
                    <a:pt x="798" y="0"/>
                  </a:lnTo>
                  <a:lnTo>
                    <a:pt x="7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endParaRPr lang="en-US" sz="1801"/>
            </a:p>
          </p:txBody>
        </p:sp>
        <p:sp>
          <p:nvSpPr>
            <p:cNvPr id="98" name="Freeform 8"/>
            <p:cNvSpPr>
              <a:spLocks/>
            </p:cNvSpPr>
            <p:nvPr/>
          </p:nvSpPr>
          <p:spPr bwMode="auto">
            <a:xfrm>
              <a:off x="6689725" y="3843338"/>
              <a:ext cx="84138" cy="84138"/>
            </a:xfrm>
            <a:custGeom>
              <a:avLst/>
              <a:gdLst>
                <a:gd name="T0" fmla="*/ 29 w 53"/>
                <a:gd name="T1" fmla="*/ 53 h 53"/>
                <a:gd name="T2" fmla="*/ 29 w 53"/>
                <a:gd name="T3" fmla="*/ 53 h 53"/>
                <a:gd name="T4" fmla="*/ 20 w 53"/>
                <a:gd name="T5" fmla="*/ 53 h 53"/>
                <a:gd name="T6" fmla="*/ 10 w 53"/>
                <a:gd name="T7" fmla="*/ 48 h 53"/>
                <a:gd name="T8" fmla="*/ 5 w 53"/>
                <a:gd name="T9" fmla="*/ 38 h 53"/>
                <a:gd name="T10" fmla="*/ 0 w 53"/>
                <a:gd name="T11" fmla="*/ 29 h 53"/>
                <a:gd name="T12" fmla="*/ 0 w 53"/>
                <a:gd name="T13" fmla="*/ 29 h 53"/>
                <a:gd name="T14" fmla="*/ 5 w 53"/>
                <a:gd name="T15" fmla="*/ 14 h 53"/>
                <a:gd name="T16" fmla="*/ 10 w 53"/>
                <a:gd name="T17" fmla="*/ 9 h 53"/>
                <a:gd name="T18" fmla="*/ 20 w 53"/>
                <a:gd name="T19" fmla="*/ 0 h 53"/>
                <a:gd name="T20" fmla="*/ 29 w 53"/>
                <a:gd name="T21" fmla="*/ 0 h 53"/>
                <a:gd name="T22" fmla="*/ 29 w 53"/>
                <a:gd name="T23" fmla="*/ 0 h 53"/>
                <a:gd name="T24" fmla="*/ 39 w 53"/>
                <a:gd name="T25" fmla="*/ 0 h 53"/>
                <a:gd name="T26" fmla="*/ 49 w 53"/>
                <a:gd name="T27" fmla="*/ 9 h 53"/>
                <a:gd name="T28" fmla="*/ 53 w 53"/>
                <a:gd name="T29" fmla="*/ 14 h 53"/>
                <a:gd name="T30" fmla="*/ 53 w 53"/>
                <a:gd name="T31" fmla="*/ 29 h 53"/>
                <a:gd name="T32" fmla="*/ 53 w 53"/>
                <a:gd name="T33" fmla="*/ 29 h 53"/>
                <a:gd name="T34" fmla="*/ 53 w 53"/>
                <a:gd name="T35" fmla="*/ 38 h 53"/>
                <a:gd name="T36" fmla="*/ 49 w 53"/>
                <a:gd name="T37" fmla="*/ 48 h 53"/>
                <a:gd name="T38" fmla="*/ 39 w 53"/>
                <a:gd name="T39" fmla="*/ 53 h 53"/>
                <a:gd name="T40" fmla="*/ 29 w 53"/>
                <a:gd name="T41" fmla="*/ 53 h 53"/>
                <a:gd name="T42" fmla="*/ 29 w 53"/>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3" h="53">
                  <a:moveTo>
                    <a:pt x="29" y="53"/>
                  </a:moveTo>
                  <a:lnTo>
                    <a:pt x="29" y="53"/>
                  </a:lnTo>
                  <a:lnTo>
                    <a:pt x="20" y="53"/>
                  </a:lnTo>
                  <a:lnTo>
                    <a:pt x="10" y="48"/>
                  </a:lnTo>
                  <a:lnTo>
                    <a:pt x="5" y="38"/>
                  </a:lnTo>
                  <a:lnTo>
                    <a:pt x="0" y="29"/>
                  </a:lnTo>
                  <a:lnTo>
                    <a:pt x="0" y="29"/>
                  </a:lnTo>
                  <a:lnTo>
                    <a:pt x="5" y="14"/>
                  </a:lnTo>
                  <a:lnTo>
                    <a:pt x="10" y="9"/>
                  </a:lnTo>
                  <a:lnTo>
                    <a:pt x="20" y="0"/>
                  </a:lnTo>
                  <a:lnTo>
                    <a:pt x="29" y="0"/>
                  </a:lnTo>
                  <a:lnTo>
                    <a:pt x="29" y="0"/>
                  </a:lnTo>
                  <a:lnTo>
                    <a:pt x="39" y="0"/>
                  </a:lnTo>
                  <a:lnTo>
                    <a:pt x="49" y="9"/>
                  </a:lnTo>
                  <a:lnTo>
                    <a:pt x="53" y="14"/>
                  </a:lnTo>
                  <a:lnTo>
                    <a:pt x="53" y="29"/>
                  </a:lnTo>
                  <a:lnTo>
                    <a:pt x="53" y="29"/>
                  </a:lnTo>
                  <a:lnTo>
                    <a:pt x="53" y="38"/>
                  </a:lnTo>
                  <a:lnTo>
                    <a:pt x="49" y="48"/>
                  </a:lnTo>
                  <a:lnTo>
                    <a:pt x="39" y="53"/>
                  </a:lnTo>
                  <a:lnTo>
                    <a:pt x="29" y="53"/>
                  </a:lnTo>
                  <a:lnTo>
                    <a:pt x="29" y="5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endParaRPr lang="en-US" sz="1801"/>
            </a:p>
          </p:txBody>
        </p:sp>
        <p:sp>
          <p:nvSpPr>
            <p:cNvPr id="99" name="Rectangle 9"/>
            <p:cNvSpPr>
              <a:spLocks noChangeArrowheads="1"/>
            </p:cNvSpPr>
            <p:nvPr/>
          </p:nvSpPr>
          <p:spPr bwMode="auto">
            <a:xfrm>
              <a:off x="7461250" y="3949700"/>
              <a:ext cx="298450" cy="100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a:p>
          </p:txBody>
        </p:sp>
        <p:sp>
          <p:nvSpPr>
            <p:cNvPr id="100" name="Line 10"/>
            <p:cNvSpPr>
              <a:spLocks noChangeShapeType="1"/>
            </p:cNvSpPr>
            <p:nvPr/>
          </p:nvSpPr>
          <p:spPr bwMode="auto">
            <a:xfrm>
              <a:off x="7759700" y="404971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endParaRPr lang="en-US" sz="1801"/>
            </a:p>
          </p:txBody>
        </p:sp>
        <p:sp>
          <p:nvSpPr>
            <p:cNvPr id="101" name="Freeform 11"/>
            <p:cNvSpPr>
              <a:spLocks noEditPoints="1"/>
            </p:cNvSpPr>
            <p:nvPr/>
          </p:nvSpPr>
          <p:spPr bwMode="auto">
            <a:xfrm>
              <a:off x="6607175" y="4178300"/>
              <a:ext cx="1335088" cy="374650"/>
            </a:xfrm>
            <a:custGeom>
              <a:avLst/>
              <a:gdLst>
                <a:gd name="T0" fmla="*/ 798 w 841"/>
                <a:gd name="T1" fmla="*/ 0 h 236"/>
                <a:gd name="T2" fmla="*/ 48 w 841"/>
                <a:gd name="T3" fmla="*/ 0 h 236"/>
                <a:gd name="T4" fmla="*/ 48 w 841"/>
                <a:gd name="T5" fmla="*/ 0 h 236"/>
                <a:gd name="T6" fmla="*/ 28 w 841"/>
                <a:gd name="T7" fmla="*/ 0 h 236"/>
                <a:gd name="T8" fmla="*/ 14 w 841"/>
                <a:gd name="T9" fmla="*/ 10 h 236"/>
                <a:gd name="T10" fmla="*/ 4 w 841"/>
                <a:gd name="T11" fmla="*/ 24 h 236"/>
                <a:gd name="T12" fmla="*/ 0 w 841"/>
                <a:gd name="T13" fmla="*/ 44 h 236"/>
                <a:gd name="T14" fmla="*/ 0 w 841"/>
                <a:gd name="T15" fmla="*/ 188 h 236"/>
                <a:gd name="T16" fmla="*/ 0 w 841"/>
                <a:gd name="T17" fmla="*/ 188 h 236"/>
                <a:gd name="T18" fmla="*/ 4 w 841"/>
                <a:gd name="T19" fmla="*/ 207 h 236"/>
                <a:gd name="T20" fmla="*/ 14 w 841"/>
                <a:gd name="T21" fmla="*/ 222 h 236"/>
                <a:gd name="T22" fmla="*/ 28 w 841"/>
                <a:gd name="T23" fmla="*/ 231 h 236"/>
                <a:gd name="T24" fmla="*/ 48 w 841"/>
                <a:gd name="T25" fmla="*/ 236 h 236"/>
                <a:gd name="T26" fmla="*/ 798 w 841"/>
                <a:gd name="T27" fmla="*/ 236 h 236"/>
                <a:gd name="T28" fmla="*/ 798 w 841"/>
                <a:gd name="T29" fmla="*/ 236 h 236"/>
                <a:gd name="T30" fmla="*/ 813 w 841"/>
                <a:gd name="T31" fmla="*/ 231 h 236"/>
                <a:gd name="T32" fmla="*/ 827 w 841"/>
                <a:gd name="T33" fmla="*/ 222 h 236"/>
                <a:gd name="T34" fmla="*/ 837 w 841"/>
                <a:gd name="T35" fmla="*/ 207 h 236"/>
                <a:gd name="T36" fmla="*/ 841 w 841"/>
                <a:gd name="T37" fmla="*/ 188 h 236"/>
                <a:gd name="T38" fmla="*/ 841 w 841"/>
                <a:gd name="T39" fmla="*/ 44 h 236"/>
                <a:gd name="T40" fmla="*/ 841 w 841"/>
                <a:gd name="T41" fmla="*/ 44 h 236"/>
                <a:gd name="T42" fmla="*/ 837 w 841"/>
                <a:gd name="T43" fmla="*/ 24 h 236"/>
                <a:gd name="T44" fmla="*/ 827 w 841"/>
                <a:gd name="T45" fmla="*/ 10 h 236"/>
                <a:gd name="T46" fmla="*/ 813 w 841"/>
                <a:gd name="T47" fmla="*/ 0 h 236"/>
                <a:gd name="T48" fmla="*/ 798 w 841"/>
                <a:gd name="T49" fmla="*/ 0 h 236"/>
                <a:gd name="T50" fmla="*/ 798 w 841"/>
                <a:gd name="T51" fmla="*/ 0 h 236"/>
                <a:gd name="T52" fmla="*/ 81 w 841"/>
                <a:gd name="T53" fmla="*/ 101 h 236"/>
                <a:gd name="T54" fmla="*/ 81 w 841"/>
                <a:gd name="T55" fmla="*/ 101 h 236"/>
                <a:gd name="T56" fmla="*/ 72 w 841"/>
                <a:gd name="T57" fmla="*/ 101 h 236"/>
                <a:gd name="T58" fmla="*/ 62 w 841"/>
                <a:gd name="T59" fmla="*/ 92 h 236"/>
                <a:gd name="T60" fmla="*/ 57 w 841"/>
                <a:gd name="T61" fmla="*/ 87 h 236"/>
                <a:gd name="T62" fmla="*/ 52 w 841"/>
                <a:gd name="T63" fmla="*/ 77 h 236"/>
                <a:gd name="T64" fmla="*/ 52 w 841"/>
                <a:gd name="T65" fmla="*/ 77 h 236"/>
                <a:gd name="T66" fmla="*/ 57 w 841"/>
                <a:gd name="T67" fmla="*/ 63 h 236"/>
                <a:gd name="T68" fmla="*/ 62 w 841"/>
                <a:gd name="T69" fmla="*/ 58 h 236"/>
                <a:gd name="T70" fmla="*/ 72 w 841"/>
                <a:gd name="T71" fmla="*/ 48 h 236"/>
                <a:gd name="T72" fmla="*/ 81 w 841"/>
                <a:gd name="T73" fmla="*/ 48 h 236"/>
                <a:gd name="T74" fmla="*/ 81 w 841"/>
                <a:gd name="T75" fmla="*/ 48 h 236"/>
                <a:gd name="T76" fmla="*/ 91 w 841"/>
                <a:gd name="T77" fmla="*/ 48 h 236"/>
                <a:gd name="T78" fmla="*/ 101 w 841"/>
                <a:gd name="T79" fmla="*/ 58 h 236"/>
                <a:gd name="T80" fmla="*/ 105 w 841"/>
                <a:gd name="T81" fmla="*/ 63 h 236"/>
                <a:gd name="T82" fmla="*/ 105 w 841"/>
                <a:gd name="T83" fmla="*/ 77 h 236"/>
                <a:gd name="T84" fmla="*/ 105 w 841"/>
                <a:gd name="T85" fmla="*/ 77 h 236"/>
                <a:gd name="T86" fmla="*/ 105 w 841"/>
                <a:gd name="T87" fmla="*/ 87 h 236"/>
                <a:gd name="T88" fmla="*/ 101 w 841"/>
                <a:gd name="T89" fmla="*/ 92 h 236"/>
                <a:gd name="T90" fmla="*/ 91 w 841"/>
                <a:gd name="T91" fmla="*/ 101 h 236"/>
                <a:gd name="T92" fmla="*/ 81 w 841"/>
                <a:gd name="T93" fmla="*/ 101 h 236"/>
                <a:gd name="T94" fmla="*/ 81 w 841"/>
                <a:gd name="T95" fmla="*/ 101 h 236"/>
                <a:gd name="T96" fmla="*/ 726 w 841"/>
                <a:gd name="T97" fmla="*/ 178 h 236"/>
                <a:gd name="T98" fmla="*/ 538 w 841"/>
                <a:gd name="T99" fmla="*/ 178 h 236"/>
                <a:gd name="T100" fmla="*/ 538 w 841"/>
                <a:gd name="T101" fmla="*/ 116 h 236"/>
                <a:gd name="T102" fmla="*/ 726 w 841"/>
                <a:gd name="T103" fmla="*/ 116 h 236"/>
                <a:gd name="T104" fmla="*/ 726 w 841"/>
                <a:gd name="T105" fmla="*/ 178 h 236"/>
                <a:gd name="T106" fmla="*/ 726 w 841"/>
                <a:gd name="T107" fmla="*/ 178 h 236"/>
                <a:gd name="T108" fmla="*/ 726 w 841"/>
                <a:gd name="T109" fmla="*/ 17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41" h="236">
                  <a:moveTo>
                    <a:pt x="798" y="0"/>
                  </a:moveTo>
                  <a:lnTo>
                    <a:pt x="48" y="0"/>
                  </a:lnTo>
                  <a:lnTo>
                    <a:pt x="48" y="0"/>
                  </a:lnTo>
                  <a:lnTo>
                    <a:pt x="28" y="0"/>
                  </a:lnTo>
                  <a:lnTo>
                    <a:pt x="14" y="10"/>
                  </a:lnTo>
                  <a:lnTo>
                    <a:pt x="4" y="24"/>
                  </a:lnTo>
                  <a:lnTo>
                    <a:pt x="0" y="44"/>
                  </a:lnTo>
                  <a:lnTo>
                    <a:pt x="0" y="188"/>
                  </a:lnTo>
                  <a:lnTo>
                    <a:pt x="0" y="188"/>
                  </a:lnTo>
                  <a:lnTo>
                    <a:pt x="4" y="207"/>
                  </a:lnTo>
                  <a:lnTo>
                    <a:pt x="14" y="222"/>
                  </a:lnTo>
                  <a:lnTo>
                    <a:pt x="28" y="231"/>
                  </a:lnTo>
                  <a:lnTo>
                    <a:pt x="48" y="236"/>
                  </a:lnTo>
                  <a:lnTo>
                    <a:pt x="798" y="236"/>
                  </a:lnTo>
                  <a:lnTo>
                    <a:pt x="798" y="236"/>
                  </a:lnTo>
                  <a:lnTo>
                    <a:pt x="813" y="231"/>
                  </a:lnTo>
                  <a:lnTo>
                    <a:pt x="827" y="222"/>
                  </a:lnTo>
                  <a:lnTo>
                    <a:pt x="837" y="207"/>
                  </a:lnTo>
                  <a:lnTo>
                    <a:pt x="841" y="188"/>
                  </a:lnTo>
                  <a:lnTo>
                    <a:pt x="841" y="44"/>
                  </a:lnTo>
                  <a:lnTo>
                    <a:pt x="841" y="44"/>
                  </a:lnTo>
                  <a:lnTo>
                    <a:pt x="837" y="24"/>
                  </a:lnTo>
                  <a:lnTo>
                    <a:pt x="827" y="10"/>
                  </a:lnTo>
                  <a:lnTo>
                    <a:pt x="813" y="0"/>
                  </a:lnTo>
                  <a:lnTo>
                    <a:pt x="798" y="0"/>
                  </a:lnTo>
                  <a:lnTo>
                    <a:pt x="798" y="0"/>
                  </a:lnTo>
                  <a:close/>
                  <a:moveTo>
                    <a:pt x="81" y="101"/>
                  </a:moveTo>
                  <a:lnTo>
                    <a:pt x="81" y="101"/>
                  </a:lnTo>
                  <a:lnTo>
                    <a:pt x="72" y="101"/>
                  </a:lnTo>
                  <a:lnTo>
                    <a:pt x="62" y="92"/>
                  </a:lnTo>
                  <a:lnTo>
                    <a:pt x="57" y="87"/>
                  </a:lnTo>
                  <a:lnTo>
                    <a:pt x="52" y="77"/>
                  </a:lnTo>
                  <a:lnTo>
                    <a:pt x="52" y="77"/>
                  </a:lnTo>
                  <a:lnTo>
                    <a:pt x="57" y="63"/>
                  </a:lnTo>
                  <a:lnTo>
                    <a:pt x="62" y="58"/>
                  </a:lnTo>
                  <a:lnTo>
                    <a:pt x="72" y="48"/>
                  </a:lnTo>
                  <a:lnTo>
                    <a:pt x="81" y="48"/>
                  </a:lnTo>
                  <a:lnTo>
                    <a:pt x="81" y="48"/>
                  </a:lnTo>
                  <a:lnTo>
                    <a:pt x="91" y="48"/>
                  </a:lnTo>
                  <a:lnTo>
                    <a:pt x="101" y="58"/>
                  </a:lnTo>
                  <a:lnTo>
                    <a:pt x="105" y="63"/>
                  </a:lnTo>
                  <a:lnTo>
                    <a:pt x="105" y="77"/>
                  </a:lnTo>
                  <a:lnTo>
                    <a:pt x="105" y="77"/>
                  </a:lnTo>
                  <a:lnTo>
                    <a:pt x="105" y="87"/>
                  </a:lnTo>
                  <a:lnTo>
                    <a:pt x="101" y="92"/>
                  </a:lnTo>
                  <a:lnTo>
                    <a:pt x="91" y="101"/>
                  </a:lnTo>
                  <a:lnTo>
                    <a:pt x="81" y="101"/>
                  </a:lnTo>
                  <a:lnTo>
                    <a:pt x="81" y="101"/>
                  </a:lnTo>
                  <a:close/>
                  <a:moveTo>
                    <a:pt x="726" y="178"/>
                  </a:moveTo>
                  <a:lnTo>
                    <a:pt x="538" y="178"/>
                  </a:lnTo>
                  <a:lnTo>
                    <a:pt x="538" y="116"/>
                  </a:lnTo>
                  <a:lnTo>
                    <a:pt x="726" y="116"/>
                  </a:lnTo>
                  <a:lnTo>
                    <a:pt x="726" y="178"/>
                  </a:lnTo>
                  <a:close/>
                  <a:moveTo>
                    <a:pt x="726" y="178"/>
                  </a:moveTo>
                  <a:lnTo>
                    <a:pt x="726" y="178"/>
                  </a:lnTo>
                  <a:close/>
                </a:path>
              </a:pathLst>
            </a:custGeom>
            <a:solidFill>
              <a:schemeClr val="accent1">
                <a:lumMod val="40000"/>
                <a:lumOff val="60000"/>
              </a:schemeClr>
            </a:solidFill>
            <a:ln>
              <a:noFill/>
            </a:ln>
          </p:spPr>
          <p:txBody>
            <a:bodyPr vert="horz" wrap="square" lIns="91440" tIns="45721" rIns="91440" bIns="45721" numCol="1" anchor="t" anchorCtr="0" compatLnSpc="1">
              <a:prstTxWarp prst="textNoShape">
                <a:avLst/>
              </a:prstTxWarp>
            </a:bodyPr>
            <a:lstStyle/>
            <a:p>
              <a:endParaRPr lang="en-US" sz="1801"/>
            </a:p>
          </p:txBody>
        </p:sp>
        <p:sp>
          <p:nvSpPr>
            <p:cNvPr id="102" name="Freeform 12"/>
            <p:cNvSpPr>
              <a:spLocks/>
            </p:cNvSpPr>
            <p:nvPr/>
          </p:nvSpPr>
          <p:spPr bwMode="auto">
            <a:xfrm>
              <a:off x="6607175" y="4178300"/>
              <a:ext cx="1335088" cy="374650"/>
            </a:xfrm>
            <a:custGeom>
              <a:avLst/>
              <a:gdLst>
                <a:gd name="T0" fmla="*/ 798 w 841"/>
                <a:gd name="T1" fmla="*/ 0 h 236"/>
                <a:gd name="T2" fmla="*/ 48 w 841"/>
                <a:gd name="T3" fmla="*/ 0 h 236"/>
                <a:gd name="T4" fmla="*/ 48 w 841"/>
                <a:gd name="T5" fmla="*/ 0 h 236"/>
                <a:gd name="T6" fmla="*/ 28 w 841"/>
                <a:gd name="T7" fmla="*/ 0 h 236"/>
                <a:gd name="T8" fmla="*/ 14 w 841"/>
                <a:gd name="T9" fmla="*/ 10 h 236"/>
                <a:gd name="T10" fmla="*/ 4 w 841"/>
                <a:gd name="T11" fmla="*/ 24 h 236"/>
                <a:gd name="T12" fmla="*/ 0 w 841"/>
                <a:gd name="T13" fmla="*/ 44 h 236"/>
                <a:gd name="T14" fmla="*/ 0 w 841"/>
                <a:gd name="T15" fmla="*/ 188 h 236"/>
                <a:gd name="T16" fmla="*/ 0 w 841"/>
                <a:gd name="T17" fmla="*/ 188 h 236"/>
                <a:gd name="T18" fmla="*/ 4 w 841"/>
                <a:gd name="T19" fmla="*/ 207 h 236"/>
                <a:gd name="T20" fmla="*/ 14 w 841"/>
                <a:gd name="T21" fmla="*/ 222 h 236"/>
                <a:gd name="T22" fmla="*/ 28 w 841"/>
                <a:gd name="T23" fmla="*/ 231 h 236"/>
                <a:gd name="T24" fmla="*/ 48 w 841"/>
                <a:gd name="T25" fmla="*/ 236 h 236"/>
                <a:gd name="T26" fmla="*/ 798 w 841"/>
                <a:gd name="T27" fmla="*/ 236 h 236"/>
                <a:gd name="T28" fmla="*/ 798 w 841"/>
                <a:gd name="T29" fmla="*/ 236 h 236"/>
                <a:gd name="T30" fmla="*/ 813 w 841"/>
                <a:gd name="T31" fmla="*/ 231 h 236"/>
                <a:gd name="T32" fmla="*/ 827 w 841"/>
                <a:gd name="T33" fmla="*/ 222 h 236"/>
                <a:gd name="T34" fmla="*/ 837 w 841"/>
                <a:gd name="T35" fmla="*/ 207 h 236"/>
                <a:gd name="T36" fmla="*/ 841 w 841"/>
                <a:gd name="T37" fmla="*/ 188 h 236"/>
                <a:gd name="T38" fmla="*/ 841 w 841"/>
                <a:gd name="T39" fmla="*/ 44 h 236"/>
                <a:gd name="T40" fmla="*/ 841 w 841"/>
                <a:gd name="T41" fmla="*/ 44 h 236"/>
                <a:gd name="T42" fmla="*/ 837 w 841"/>
                <a:gd name="T43" fmla="*/ 24 h 236"/>
                <a:gd name="T44" fmla="*/ 827 w 841"/>
                <a:gd name="T45" fmla="*/ 10 h 236"/>
                <a:gd name="T46" fmla="*/ 813 w 841"/>
                <a:gd name="T47" fmla="*/ 0 h 236"/>
                <a:gd name="T48" fmla="*/ 798 w 841"/>
                <a:gd name="T49" fmla="*/ 0 h 236"/>
                <a:gd name="T50" fmla="*/ 798 w 841"/>
                <a:gd name="T51" fmla="*/ 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41" h="236">
                  <a:moveTo>
                    <a:pt x="798" y="0"/>
                  </a:moveTo>
                  <a:lnTo>
                    <a:pt x="48" y="0"/>
                  </a:lnTo>
                  <a:lnTo>
                    <a:pt x="48" y="0"/>
                  </a:lnTo>
                  <a:lnTo>
                    <a:pt x="28" y="0"/>
                  </a:lnTo>
                  <a:lnTo>
                    <a:pt x="14" y="10"/>
                  </a:lnTo>
                  <a:lnTo>
                    <a:pt x="4" y="24"/>
                  </a:lnTo>
                  <a:lnTo>
                    <a:pt x="0" y="44"/>
                  </a:lnTo>
                  <a:lnTo>
                    <a:pt x="0" y="188"/>
                  </a:lnTo>
                  <a:lnTo>
                    <a:pt x="0" y="188"/>
                  </a:lnTo>
                  <a:lnTo>
                    <a:pt x="4" y="207"/>
                  </a:lnTo>
                  <a:lnTo>
                    <a:pt x="14" y="222"/>
                  </a:lnTo>
                  <a:lnTo>
                    <a:pt x="28" y="231"/>
                  </a:lnTo>
                  <a:lnTo>
                    <a:pt x="48" y="236"/>
                  </a:lnTo>
                  <a:lnTo>
                    <a:pt x="798" y="236"/>
                  </a:lnTo>
                  <a:lnTo>
                    <a:pt x="798" y="236"/>
                  </a:lnTo>
                  <a:lnTo>
                    <a:pt x="813" y="231"/>
                  </a:lnTo>
                  <a:lnTo>
                    <a:pt x="827" y="222"/>
                  </a:lnTo>
                  <a:lnTo>
                    <a:pt x="837" y="207"/>
                  </a:lnTo>
                  <a:lnTo>
                    <a:pt x="841" y="188"/>
                  </a:lnTo>
                  <a:lnTo>
                    <a:pt x="841" y="44"/>
                  </a:lnTo>
                  <a:lnTo>
                    <a:pt x="841" y="44"/>
                  </a:lnTo>
                  <a:lnTo>
                    <a:pt x="837" y="24"/>
                  </a:lnTo>
                  <a:lnTo>
                    <a:pt x="827" y="10"/>
                  </a:lnTo>
                  <a:lnTo>
                    <a:pt x="813" y="0"/>
                  </a:lnTo>
                  <a:lnTo>
                    <a:pt x="798" y="0"/>
                  </a:lnTo>
                  <a:lnTo>
                    <a:pt x="7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endParaRPr lang="en-US" sz="1801"/>
            </a:p>
          </p:txBody>
        </p:sp>
        <p:sp>
          <p:nvSpPr>
            <p:cNvPr id="103" name="Freeform 13"/>
            <p:cNvSpPr>
              <a:spLocks/>
            </p:cNvSpPr>
            <p:nvPr/>
          </p:nvSpPr>
          <p:spPr bwMode="auto">
            <a:xfrm>
              <a:off x="6689725" y="4254500"/>
              <a:ext cx="84138" cy="84138"/>
            </a:xfrm>
            <a:custGeom>
              <a:avLst/>
              <a:gdLst>
                <a:gd name="T0" fmla="*/ 29 w 53"/>
                <a:gd name="T1" fmla="*/ 53 h 53"/>
                <a:gd name="T2" fmla="*/ 29 w 53"/>
                <a:gd name="T3" fmla="*/ 53 h 53"/>
                <a:gd name="T4" fmla="*/ 20 w 53"/>
                <a:gd name="T5" fmla="*/ 53 h 53"/>
                <a:gd name="T6" fmla="*/ 10 w 53"/>
                <a:gd name="T7" fmla="*/ 44 h 53"/>
                <a:gd name="T8" fmla="*/ 5 w 53"/>
                <a:gd name="T9" fmla="*/ 39 h 53"/>
                <a:gd name="T10" fmla="*/ 0 w 53"/>
                <a:gd name="T11" fmla="*/ 29 h 53"/>
                <a:gd name="T12" fmla="*/ 0 w 53"/>
                <a:gd name="T13" fmla="*/ 29 h 53"/>
                <a:gd name="T14" fmla="*/ 5 w 53"/>
                <a:gd name="T15" fmla="*/ 15 h 53"/>
                <a:gd name="T16" fmla="*/ 10 w 53"/>
                <a:gd name="T17" fmla="*/ 10 h 53"/>
                <a:gd name="T18" fmla="*/ 20 w 53"/>
                <a:gd name="T19" fmla="*/ 0 h 53"/>
                <a:gd name="T20" fmla="*/ 29 w 53"/>
                <a:gd name="T21" fmla="*/ 0 h 53"/>
                <a:gd name="T22" fmla="*/ 29 w 53"/>
                <a:gd name="T23" fmla="*/ 0 h 53"/>
                <a:gd name="T24" fmla="*/ 39 w 53"/>
                <a:gd name="T25" fmla="*/ 0 h 53"/>
                <a:gd name="T26" fmla="*/ 49 w 53"/>
                <a:gd name="T27" fmla="*/ 10 h 53"/>
                <a:gd name="T28" fmla="*/ 53 w 53"/>
                <a:gd name="T29" fmla="*/ 15 h 53"/>
                <a:gd name="T30" fmla="*/ 53 w 53"/>
                <a:gd name="T31" fmla="*/ 29 h 53"/>
                <a:gd name="T32" fmla="*/ 53 w 53"/>
                <a:gd name="T33" fmla="*/ 29 h 53"/>
                <a:gd name="T34" fmla="*/ 53 w 53"/>
                <a:gd name="T35" fmla="*/ 39 h 53"/>
                <a:gd name="T36" fmla="*/ 49 w 53"/>
                <a:gd name="T37" fmla="*/ 44 h 53"/>
                <a:gd name="T38" fmla="*/ 39 w 53"/>
                <a:gd name="T39" fmla="*/ 53 h 53"/>
                <a:gd name="T40" fmla="*/ 29 w 53"/>
                <a:gd name="T41" fmla="*/ 53 h 53"/>
                <a:gd name="T42" fmla="*/ 29 w 53"/>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3" h="53">
                  <a:moveTo>
                    <a:pt x="29" y="53"/>
                  </a:moveTo>
                  <a:lnTo>
                    <a:pt x="29" y="53"/>
                  </a:lnTo>
                  <a:lnTo>
                    <a:pt x="20" y="53"/>
                  </a:lnTo>
                  <a:lnTo>
                    <a:pt x="10" y="44"/>
                  </a:lnTo>
                  <a:lnTo>
                    <a:pt x="5" y="39"/>
                  </a:lnTo>
                  <a:lnTo>
                    <a:pt x="0" y="29"/>
                  </a:lnTo>
                  <a:lnTo>
                    <a:pt x="0" y="29"/>
                  </a:lnTo>
                  <a:lnTo>
                    <a:pt x="5" y="15"/>
                  </a:lnTo>
                  <a:lnTo>
                    <a:pt x="10" y="10"/>
                  </a:lnTo>
                  <a:lnTo>
                    <a:pt x="20" y="0"/>
                  </a:lnTo>
                  <a:lnTo>
                    <a:pt x="29" y="0"/>
                  </a:lnTo>
                  <a:lnTo>
                    <a:pt x="29" y="0"/>
                  </a:lnTo>
                  <a:lnTo>
                    <a:pt x="39" y="0"/>
                  </a:lnTo>
                  <a:lnTo>
                    <a:pt x="49" y="10"/>
                  </a:lnTo>
                  <a:lnTo>
                    <a:pt x="53" y="15"/>
                  </a:lnTo>
                  <a:lnTo>
                    <a:pt x="53" y="29"/>
                  </a:lnTo>
                  <a:lnTo>
                    <a:pt x="53" y="29"/>
                  </a:lnTo>
                  <a:lnTo>
                    <a:pt x="53" y="39"/>
                  </a:lnTo>
                  <a:lnTo>
                    <a:pt x="49" y="44"/>
                  </a:lnTo>
                  <a:lnTo>
                    <a:pt x="39" y="53"/>
                  </a:lnTo>
                  <a:lnTo>
                    <a:pt x="29" y="53"/>
                  </a:lnTo>
                  <a:lnTo>
                    <a:pt x="29" y="5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endParaRPr lang="en-US" sz="1801"/>
            </a:p>
          </p:txBody>
        </p:sp>
        <p:sp>
          <p:nvSpPr>
            <p:cNvPr id="104" name="Rectangle 14"/>
            <p:cNvSpPr>
              <a:spLocks noChangeArrowheads="1"/>
            </p:cNvSpPr>
            <p:nvPr/>
          </p:nvSpPr>
          <p:spPr bwMode="auto">
            <a:xfrm>
              <a:off x="7461250" y="4362450"/>
              <a:ext cx="298450"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a:p>
          </p:txBody>
        </p:sp>
        <p:sp>
          <p:nvSpPr>
            <p:cNvPr id="105" name="Line 15"/>
            <p:cNvSpPr>
              <a:spLocks noChangeShapeType="1"/>
            </p:cNvSpPr>
            <p:nvPr/>
          </p:nvSpPr>
          <p:spPr bwMode="auto">
            <a:xfrm>
              <a:off x="7759700" y="4460875"/>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endParaRPr lang="en-US" sz="1801"/>
            </a:p>
          </p:txBody>
        </p:sp>
        <p:sp>
          <p:nvSpPr>
            <p:cNvPr id="106" name="Freeform 16"/>
            <p:cNvSpPr>
              <a:spLocks noEditPoints="1"/>
            </p:cNvSpPr>
            <p:nvPr/>
          </p:nvSpPr>
          <p:spPr bwMode="auto">
            <a:xfrm>
              <a:off x="6607175" y="4591050"/>
              <a:ext cx="1335088" cy="366713"/>
            </a:xfrm>
            <a:custGeom>
              <a:avLst/>
              <a:gdLst>
                <a:gd name="T0" fmla="*/ 798 w 841"/>
                <a:gd name="T1" fmla="*/ 0 h 231"/>
                <a:gd name="T2" fmla="*/ 48 w 841"/>
                <a:gd name="T3" fmla="*/ 0 h 231"/>
                <a:gd name="T4" fmla="*/ 48 w 841"/>
                <a:gd name="T5" fmla="*/ 0 h 231"/>
                <a:gd name="T6" fmla="*/ 28 w 841"/>
                <a:gd name="T7" fmla="*/ 0 h 231"/>
                <a:gd name="T8" fmla="*/ 14 w 841"/>
                <a:gd name="T9" fmla="*/ 10 h 231"/>
                <a:gd name="T10" fmla="*/ 4 w 841"/>
                <a:gd name="T11" fmla="*/ 24 h 231"/>
                <a:gd name="T12" fmla="*/ 0 w 841"/>
                <a:gd name="T13" fmla="*/ 43 h 231"/>
                <a:gd name="T14" fmla="*/ 0 w 841"/>
                <a:gd name="T15" fmla="*/ 188 h 231"/>
                <a:gd name="T16" fmla="*/ 0 w 841"/>
                <a:gd name="T17" fmla="*/ 188 h 231"/>
                <a:gd name="T18" fmla="*/ 4 w 841"/>
                <a:gd name="T19" fmla="*/ 207 h 231"/>
                <a:gd name="T20" fmla="*/ 14 w 841"/>
                <a:gd name="T21" fmla="*/ 221 h 231"/>
                <a:gd name="T22" fmla="*/ 28 w 841"/>
                <a:gd name="T23" fmla="*/ 231 h 231"/>
                <a:gd name="T24" fmla="*/ 48 w 841"/>
                <a:gd name="T25" fmla="*/ 231 h 231"/>
                <a:gd name="T26" fmla="*/ 798 w 841"/>
                <a:gd name="T27" fmla="*/ 231 h 231"/>
                <a:gd name="T28" fmla="*/ 798 w 841"/>
                <a:gd name="T29" fmla="*/ 231 h 231"/>
                <a:gd name="T30" fmla="*/ 813 w 841"/>
                <a:gd name="T31" fmla="*/ 231 h 231"/>
                <a:gd name="T32" fmla="*/ 827 w 841"/>
                <a:gd name="T33" fmla="*/ 221 h 231"/>
                <a:gd name="T34" fmla="*/ 837 w 841"/>
                <a:gd name="T35" fmla="*/ 207 h 231"/>
                <a:gd name="T36" fmla="*/ 841 w 841"/>
                <a:gd name="T37" fmla="*/ 188 h 231"/>
                <a:gd name="T38" fmla="*/ 841 w 841"/>
                <a:gd name="T39" fmla="*/ 43 h 231"/>
                <a:gd name="T40" fmla="*/ 841 w 841"/>
                <a:gd name="T41" fmla="*/ 43 h 231"/>
                <a:gd name="T42" fmla="*/ 837 w 841"/>
                <a:gd name="T43" fmla="*/ 24 h 231"/>
                <a:gd name="T44" fmla="*/ 827 w 841"/>
                <a:gd name="T45" fmla="*/ 10 h 231"/>
                <a:gd name="T46" fmla="*/ 813 w 841"/>
                <a:gd name="T47" fmla="*/ 0 h 231"/>
                <a:gd name="T48" fmla="*/ 798 w 841"/>
                <a:gd name="T49" fmla="*/ 0 h 231"/>
                <a:gd name="T50" fmla="*/ 798 w 841"/>
                <a:gd name="T51" fmla="*/ 0 h 231"/>
                <a:gd name="T52" fmla="*/ 81 w 841"/>
                <a:gd name="T53" fmla="*/ 101 h 231"/>
                <a:gd name="T54" fmla="*/ 81 w 841"/>
                <a:gd name="T55" fmla="*/ 101 h 231"/>
                <a:gd name="T56" fmla="*/ 72 w 841"/>
                <a:gd name="T57" fmla="*/ 101 h 231"/>
                <a:gd name="T58" fmla="*/ 62 w 841"/>
                <a:gd name="T59" fmla="*/ 91 h 231"/>
                <a:gd name="T60" fmla="*/ 57 w 841"/>
                <a:gd name="T61" fmla="*/ 87 h 231"/>
                <a:gd name="T62" fmla="*/ 52 w 841"/>
                <a:gd name="T63" fmla="*/ 72 h 231"/>
                <a:gd name="T64" fmla="*/ 52 w 841"/>
                <a:gd name="T65" fmla="*/ 72 h 231"/>
                <a:gd name="T66" fmla="*/ 57 w 841"/>
                <a:gd name="T67" fmla="*/ 63 h 231"/>
                <a:gd name="T68" fmla="*/ 62 w 841"/>
                <a:gd name="T69" fmla="*/ 53 h 231"/>
                <a:gd name="T70" fmla="*/ 72 w 841"/>
                <a:gd name="T71" fmla="*/ 48 h 231"/>
                <a:gd name="T72" fmla="*/ 81 w 841"/>
                <a:gd name="T73" fmla="*/ 48 h 231"/>
                <a:gd name="T74" fmla="*/ 81 w 841"/>
                <a:gd name="T75" fmla="*/ 48 h 231"/>
                <a:gd name="T76" fmla="*/ 91 w 841"/>
                <a:gd name="T77" fmla="*/ 48 h 231"/>
                <a:gd name="T78" fmla="*/ 101 w 841"/>
                <a:gd name="T79" fmla="*/ 53 h 231"/>
                <a:gd name="T80" fmla="*/ 105 w 841"/>
                <a:gd name="T81" fmla="*/ 63 h 231"/>
                <a:gd name="T82" fmla="*/ 105 w 841"/>
                <a:gd name="T83" fmla="*/ 72 h 231"/>
                <a:gd name="T84" fmla="*/ 105 w 841"/>
                <a:gd name="T85" fmla="*/ 72 h 231"/>
                <a:gd name="T86" fmla="*/ 105 w 841"/>
                <a:gd name="T87" fmla="*/ 87 h 231"/>
                <a:gd name="T88" fmla="*/ 101 w 841"/>
                <a:gd name="T89" fmla="*/ 91 h 231"/>
                <a:gd name="T90" fmla="*/ 91 w 841"/>
                <a:gd name="T91" fmla="*/ 101 h 231"/>
                <a:gd name="T92" fmla="*/ 81 w 841"/>
                <a:gd name="T93" fmla="*/ 101 h 231"/>
                <a:gd name="T94" fmla="*/ 81 w 841"/>
                <a:gd name="T95" fmla="*/ 101 h 231"/>
                <a:gd name="T96" fmla="*/ 726 w 841"/>
                <a:gd name="T97" fmla="*/ 178 h 231"/>
                <a:gd name="T98" fmla="*/ 538 w 841"/>
                <a:gd name="T99" fmla="*/ 178 h 231"/>
                <a:gd name="T100" fmla="*/ 538 w 841"/>
                <a:gd name="T101" fmla="*/ 116 h 231"/>
                <a:gd name="T102" fmla="*/ 726 w 841"/>
                <a:gd name="T103" fmla="*/ 116 h 231"/>
                <a:gd name="T104" fmla="*/ 726 w 841"/>
                <a:gd name="T105" fmla="*/ 178 h 231"/>
                <a:gd name="T106" fmla="*/ 726 w 841"/>
                <a:gd name="T107" fmla="*/ 178 h 231"/>
                <a:gd name="T108" fmla="*/ 726 w 841"/>
                <a:gd name="T109" fmla="*/ 178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41" h="231">
                  <a:moveTo>
                    <a:pt x="798" y="0"/>
                  </a:moveTo>
                  <a:lnTo>
                    <a:pt x="48" y="0"/>
                  </a:lnTo>
                  <a:lnTo>
                    <a:pt x="48" y="0"/>
                  </a:lnTo>
                  <a:lnTo>
                    <a:pt x="28" y="0"/>
                  </a:lnTo>
                  <a:lnTo>
                    <a:pt x="14" y="10"/>
                  </a:lnTo>
                  <a:lnTo>
                    <a:pt x="4" y="24"/>
                  </a:lnTo>
                  <a:lnTo>
                    <a:pt x="0" y="43"/>
                  </a:lnTo>
                  <a:lnTo>
                    <a:pt x="0" y="188"/>
                  </a:lnTo>
                  <a:lnTo>
                    <a:pt x="0" y="188"/>
                  </a:lnTo>
                  <a:lnTo>
                    <a:pt x="4" y="207"/>
                  </a:lnTo>
                  <a:lnTo>
                    <a:pt x="14" y="221"/>
                  </a:lnTo>
                  <a:lnTo>
                    <a:pt x="28" y="231"/>
                  </a:lnTo>
                  <a:lnTo>
                    <a:pt x="48" y="231"/>
                  </a:lnTo>
                  <a:lnTo>
                    <a:pt x="798" y="231"/>
                  </a:lnTo>
                  <a:lnTo>
                    <a:pt x="798" y="231"/>
                  </a:lnTo>
                  <a:lnTo>
                    <a:pt x="813" y="231"/>
                  </a:lnTo>
                  <a:lnTo>
                    <a:pt x="827" y="221"/>
                  </a:lnTo>
                  <a:lnTo>
                    <a:pt x="837" y="207"/>
                  </a:lnTo>
                  <a:lnTo>
                    <a:pt x="841" y="188"/>
                  </a:lnTo>
                  <a:lnTo>
                    <a:pt x="841" y="43"/>
                  </a:lnTo>
                  <a:lnTo>
                    <a:pt x="841" y="43"/>
                  </a:lnTo>
                  <a:lnTo>
                    <a:pt x="837" y="24"/>
                  </a:lnTo>
                  <a:lnTo>
                    <a:pt x="827" y="10"/>
                  </a:lnTo>
                  <a:lnTo>
                    <a:pt x="813" y="0"/>
                  </a:lnTo>
                  <a:lnTo>
                    <a:pt x="798" y="0"/>
                  </a:lnTo>
                  <a:lnTo>
                    <a:pt x="798" y="0"/>
                  </a:lnTo>
                  <a:close/>
                  <a:moveTo>
                    <a:pt x="81" y="101"/>
                  </a:moveTo>
                  <a:lnTo>
                    <a:pt x="81" y="101"/>
                  </a:lnTo>
                  <a:lnTo>
                    <a:pt x="72" y="101"/>
                  </a:lnTo>
                  <a:lnTo>
                    <a:pt x="62" y="91"/>
                  </a:lnTo>
                  <a:lnTo>
                    <a:pt x="57" y="87"/>
                  </a:lnTo>
                  <a:lnTo>
                    <a:pt x="52" y="72"/>
                  </a:lnTo>
                  <a:lnTo>
                    <a:pt x="52" y="72"/>
                  </a:lnTo>
                  <a:lnTo>
                    <a:pt x="57" y="63"/>
                  </a:lnTo>
                  <a:lnTo>
                    <a:pt x="62" y="53"/>
                  </a:lnTo>
                  <a:lnTo>
                    <a:pt x="72" y="48"/>
                  </a:lnTo>
                  <a:lnTo>
                    <a:pt x="81" y="48"/>
                  </a:lnTo>
                  <a:lnTo>
                    <a:pt x="81" y="48"/>
                  </a:lnTo>
                  <a:lnTo>
                    <a:pt x="91" y="48"/>
                  </a:lnTo>
                  <a:lnTo>
                    <a:pt x="101" y="53"/>
                  </a:lnTo>
                  <a:lnTo>
                    <a:pt x="105" y="63"/>
                  </a:lnTo>
                  <a:lnTo>
                    <a:pt x="105" y="72"/>
                  </a:lnTo>
                  <a:lnTo>
                    <a:pt x="105" y="72"/>
                  </a:lnTo>
                  <a:lnTo>
                    <a:pt x="105" y="87"/>
                  </a:lnTo>
                  <a:lnTo>
                    <a:pt x="101" y="91"/>
                  </a:lnTo>
                  <a:lnTo>
                    <a:pt x="91" y="101"/>
                  </a:lnTo>
                  <a:lnTo>
                    <a:pt x="81" y="101"/>
                  </a:lnTo>
                  <a:lnTo>
                    <a:pt x="81" y="101"/>
                  </a:lnTo>
                  <a:close/>
                  <a:moveTo>
                    <a:pt x="726" y="178"/>
                  </a:moveTo>
                  <a:lnTo>
                    <a:pt x="538" y="178"/>
                  </a:lnTo>
                  <a:lnTo>
                    <a:pt x="538" y="116"/>
                  </a:lnTo>
                  <a:lnTo>
                    <a:pt x="726" y="116"/>
                  </a:lnTo>
                  <a:lnTo>
                    <a:pt x="726" y="178"/>
                  </a:lnTo>
                  <a:close/>
                  <a:moveTo>
                    <a:pt x="726" y="178"/>
                  </a:moveTo>
                  <a:lnTo>
                    <a:pt x="726" y="178"/>
                  </a:lnTo>
                  <a:close/>
                </a:path>
              </a:pathLst>
            </a:custGeom>
            <a:solidFill>
              <a:schemeClr val="accent1">
                <a:lumMod val="40000"/>
                <a:lumOff val="60000"/>
              </a:schemeClr>
            </a:solidFill>
            <a:ln>
              <a:noFill/>
            </a:ln>
          </p:spPr>
          <p:txBody>
            <a:bodyPr vert="horz" wrap="square" lIns="91440" tIns="45721" rIns="91440" bIns="45721" numCol="1" anchor="t" anchorCtr="0" compatLnSpc="1">
              <a:prstTxWarp prst="textNoShape">
                <a:avLst/>
              </a:prstTxWarp>
            </a:bodyPr>
            <a:lstStyle/>
            <a:p>
              <a:endParaRPr lang="en-US" sz="1801"/>
            </a:p>
          </p:txBody>
        </p:sp>
        <p:sp>
          <p:nvSpPr>
            <p:cNvPr id="107" name="Freeform 17"/>
            <p:cNvSpPr>
              <a:spLocks/>
            </p:cNvSpPr>
            <p:nvPr/>
          </p:nvSpPr>
          <p:spPr bwMode="auto">
            <a:xfrm>
              <a:off x="6607175" y="4591050"/>
              <a:ext cx="1335088" cy="366713"/>
            </a:xfrm>
            <a:custGeom>
              <a:avLst/>
              <a:gdLst>
                <a:gd name="T0" fmla="*/ 798 w 841"/>
                <a:gd name="T1" fmla="*/ 0 h 231"/>
                <a:gd name="T2" fmla="*/ 48 w 841"/>
                <a:gd name="T3" fmla="*/ 0 h 231"/>
                <a:gd name="T4" fmla="*/ 48 w 841"/>
                <a:gd name="T5" fmla="*/ 0 h 231"/>
                <a:gd name="T6" fmla="*/ 28 w 841"/>
                <a:gd name="T7" fmla="*/ 0 h 231"/>
                <a:gd name="T8" fmla="*/ 14 w 841"/>
                <a:gd name="T9" fmla="*/ 10 h 231"/>
                <a:gd name="T10" fmla="*/ 4 w 841"/>
                <a:gd name="T11" fmla="*/ 24 h 231"/>
                <a:gd name="T12" fmla="*/ 0 w 841"/>
                <a:gd name="T13" fmla="*/ 43 h 231"/>
                <a:gd name="T14" fmla="*/ 0 w 841"/>
                <a:gd name="T15" fmla="*/ 188 h 231"/>
                <a:gd name="T16" fmla="*/ 0 w 841"/>
                <a:gd name="T17" fmla="*/ 188 h 231"/>
                <a:gd name="T18" fmla="*/ 4 w 841"/>
                <a:gd name="T19" fmla="*/ 207 h 231"/>
                <a:gd name="T20" fmla="*/ 14 w 841"/>
                <a:gd name="T21" fmla="*/ 221 h 231"/>
                <a:gd name="T22" fmla="*/ 28 w 841"/>
                <a:gd name="T23" fmla="*/ 231 h 231"/>
                <a:gd name="T24" fmla="*/ 48 w 841"/>
                <a:gd name="T25" fmla="*/ 231 h 231"/>
                <a:gd name="T26" fmla="*/ 798 w 841"/>
                <a:gd name="T27" fmla="*/ 231 h 231"/>
                <a:gd name="T28" fmla="*/ 798 w 841"/>
                <a:gd name="T29" fmla="*/ 231 h 231"/>
                <a:gd name="T30" fmla="*/ 813 w 841"/>
                <a:gd name="T31" fmla="*/ 231 h 231"/>
                <a:gd name="T32" fmla="*/ 827 w 841"/>
                <a:gd name="T33" fmla="*/ 221 h 231"/>
                <a:gd name="T34" fmla="*/ 837 w 841"/>
                <a:gd name="T35" fmla="*/ 207 h 231"/>
                <a:gd name="T36" fmla="*/ 841 w 841"/>
                <a:gd name="T37" fmla="*/ 188 h 231"/>
                <a:gd name="T38" fmla="*/ 841 w 841"/>
                <a:gd name="T39" fmla="*/ 43 h 231"/>
                <a:gd name="T40" fmla="*/ 841 w 841"/>
                <a:gd name="T41" fmla="*/ 43 h 231"/>
                <a:gd name="T42" fmla="*/ 837 w 841"/>
                <a:gd name="T43" fmla="*/ 24 h 231"/>
                <a:gd name="T44" fmla="*/ 827 w 841"/>
                <a:gd name="T45" fmla="*/ 10 h 231"/>
                <a:gd name="T46" fmla="*/ 813 w 841"/>
                <a:gd name="T47" fmla="*/ 0 h 231"/>
                <a:gd name="T48" fmla="*/ 798 w 841"/>
                <a:gd name="T49" fmla="*/ 0 h 231"/>
                <a:gd name="T50" fmla="*/ 798 w 841"/>
                <a:gd name="T51"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41" h="231">
                  <a:moveTo>
                    <a:pt x="798" y="0"/>
                  </a:moveTo>
                  <a:lnTo>
                    <a:pt x="48" y="0"/>
                  </a:lnTo>
                  <a:lnTo>
                    <a:pt x="48" y="0"/>
                  </a:lnTo>
                  <a:lnTo>
                    <a:pt x="28" y="0"/>
                  </a:lnTo>
                  <a:lnTo>
                    <a:pt x="14" y="10"/>
                  </a:lnTo>
                  <a:lnTo>
                    <a:pt x="4" y="24"/>
                  </a:lnTo>
                  <a:lnTo>
                    <a:pt x="0" y="43"/>
                  </a:lnTo>
                  <a:lnTo>
                    <a:pt x="0" y="188"/>
                  </a:lnTo>
                  <a:lnTo>
                    <a:pt x="0" y="188"/>
                  </a:lnTo>
                  <a:lnTo>
                    <a:pt x="4" y="207"/>
                  </a:lnTo>
                  <a:lnTo>
                    <a:pt x="14" y="221"/>
                  </a:lnTo>
                  <a:lnTo>
                    <a:pt x="28" y="231"/>
                  </a:lnTo>
                  <a:lnTo>
                    <a:pt x="48" y="231"/>
                  </a:lnTo>
                  <a:lnTo>
                    <a:pt x="798" y="231"/>
                  </a:lnTo>
                  <a:lnTo>
                    <a:pt x="798" y="231"/>
                  </a:lnTo>
                  <a:lnTo>
                    <a:pt x="813" y="231"/>
                  </a:lnTo>
                  <a:lnTo>
                    <a:pt x="827" y="221"/>
                  </a:lnTo>
                  <a:lnTo>
                    <a:pt x="837" y="207"/>
                  </a:lnTo>
                  <a:lnTo>
                    <a:pt x="841" y="188"/>
                  </a:lnTo>
                  <a:lnTo>
                    <a:pt x="841" y="43"/>
                  </a:lnTo>
                  <a:lnTo>
                    <a:pt x="841" y="43"/>
                  </a:lnTo>
                  <a:lnTo>
                    <a:pt x="837" y="24"/>
                  </a:lnTo>
                  <a:lnTo>
                    <a:pt x="827" y="10"/>
                  </a:lnTo>
                  <a:lnTo>
                    <a:pt x="813" y="0"/>
                  </a:lnTo>
                  <a:lnTo>
                    <a:pt x="798" y="0"/>
                  </a:lnTo>
                  <a:lnTo>
                    <a:pt x="7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endParaRPr lang="en-US" sz="1801"/>
            </a:p>
          </p:txBody>
        </p:sp>
        <p:sp>
          <p:nvSpPr>
            <p:cNvPr id="108" name="Freeform 18"/>
            <p:cNvSpPr>
              <a:spLocks/>
            </p:cNvSpPr>
            <p:nvPr/>
          </p:nvSpPr>
          <p:spPr bwMode="auto">
            <a:xfrm>
              <a:off x="6689725" y="4667250"/>
              <a:ext cx="84138" cy="84138"/>
            </a:xfrm>
            <a:custGeom>
              <a:avLst/>
              <a:gdLst>
                <a:gd name="T0" fmla="*/ 29 w 53"/>
                <a:gd name="T1" fmla="*/ 53 h 53"/>
                <a:gd name="T2" fmla="*/ 29 w 53"/>
                <a:gd name="T3" fmla="*/ 53 h 53"/>
                <a:gd name="T4" fmla="*/ 20 w 53"/>
                <a:gd name="T5" fmla="*/ 53 h 53"/>
                <a:gd name="T6" fmla="*/ 10 w 53"/>
                <a:gd name="T7" fmla="*/ 43 h 53"/>
                <a:gd name="T8" fmla="*/ 5 w 53"/>
                <a:gd name="T9" fmla="*/ 39 h 53"/>
                <a:gd name="T10" fmla="*/ 0 w 53"/>
                <a:gd name="T11" fmla="*/ 24 h 53"/>
                <a:gd name="T12" fmla="*/ 0 w 53"/>
                <a:gd name="T13" fmla="*/ 24 h 53"/>
                <a:gd name="T14" fmla="*/ 5 w 53"/>
                <a:gd name="T15" fmla="*/ 15 h 53"/>
                <a:gd name="T16" fmla="*/ 10 w 53"/>
                <a:gd name="T17" fmla="*/ 5 h 53"/>
                <a:gd name="T18" fmla="*/ 20 w 53"/>
                <a:gd name="T19" fmla="*/ 0 h 53"/>
                <a:gd name="T20" fmla="*/ 29 w 53"/>
                <a:gd name="T21" fmla="*/ 0 h 53"/>
                <a:gd name="T22" fmla="*/ 29 w 53"/>
                <a:gd name="T23" fmla="*/ 0 h 53"/>
                <a:gd name="T24" fmla="*/ 39 w 53"/>
                <a:gd name="T25" fmla="*/ 0 h 53"/>
                <a:gd name="T26" fmla="*/ 49 w 53"/>
                <a:gd name="T27" fmla="*/ 5 h 53"/>
                <a:gd name="T28" fmla="*/ 53 w 53"/>
                <a:gd name="T29" fmla="*/ 15 h 53"/>
                <a:gd name="T30" fmla="*/ 53 w 53"/>
                <a:gd name="T31" fmla="*/ 24 h 53"/>
                <a:gd name="T32" fmla="*/ 53 w 53"/>
                <a:gd name="T33" fmla="*/ 24 h 53"/>
                <a:gd name="T34" fmla="*/ 53 w 53"/>
                <a:gd name="T35" fmla="*/ 39 h 53"/>
                <a:gd name="T36" fmla="*/ 49 w 53"/>
                <a:gd name="T37" fmla="*/ 43 h 53"/>
                <a:gd name="T38" fmla="*/ 39 w 53"/>
                <a:gd name="T39" fmla="*/ 53 h 53"/>
                <a:gd name="T40" fmla="*/ 29 w 53"/>
                <a:gd name="T41" fmla="*/ 53 h 53"/>
                <a:gd name="T42" fmla="*/ 29 w 53"/>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3" h="53">
                  <a:moveTo>
                    <a:pt x="29" y="53"/>
                  </a:moveTo>
                  <a:lnTo>
                    <a:pt x="29" y="53"/>
                  </a:lnTo>
                  <a:lnTo>
                    <a:pt x="20" y="53"/>
                  </a:lnTo>
                  <a:lnTo>
                    <a:pt x="10" y="43"/>
                  </a:lnTo>
                  <a:lnTo>
                    <a:pt x="5" y="39"/>
                  </a:lnTo>
                  <a:lnTo>
                    <a:pt x="0" y="24"/>
                  </a:lnTo>
                  <a:lnTo>
                    <a:pt x="0" y="24"/>
                  </a:lnTo>
                  <a:lnTo>
                    <a:pt x="5" y="15"/>
                  </a:lnTo>
                  <a:lnTo>
                    <a:pt x="10" y="5"/>
                  </a:lnTo>
                  <a:lnTo>
                    <a:pt x="20" y="0"/>
                  </a:lnTo>
                  <a:lnTo>
                    <a:pt x="29" y="0"/>
                  </a:lnTo>
                  <a:lnTo>
                    <a:pt x="29" y="0"/>
                  </a:lnTo>
                  <a:lnTo>
                    <a:pt x="39" y="0"/>
                  </a:lnTo>
                  <a:lnTo>
                    <a:pt x="49" y="5"/>
                  </a:lnTo>
                  <a:lnTo>
                    <a:pt x="53" y="15"/>
                  </a:lnTo>
                  <a:lnTo>
                    <a:pt x="53" y="24"/>
                  </a:lnTo>
                  <a:lnTo>
                    <a:pt x="53" y="24"/>
                  </a:lnTo>
                  <a:lnTo>
                    <a:pt x="53" y="39"/>
                  </a:lnTo>
                  <a:lnTo>
                    <a:pt x="49" y="43"/>
                  </a:lnTo>
                  <a:lnTo>
                    <a:pt x="39" y="53"/>
                  </a:lnTo>
                  <a:lnTo>
                    <a:pt x="29" y="53"/>
                  </a:lnTo>
                  <a:lnTo>
                    <a:pt x="29" y="5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endParaRPr lang="en-US" sz="1801"/>
            </a:p>
          </p:txBody>
        </p:sp>
        <p:sp>
          <p:nvSpPr>
            <p:cNvPr id="109" name="Rectangle 19"/>
            <p:cNvSpPr>
              <a:spLocks noChangeArrowheads="1"/>
            </p:cNvSpPr>
            <p:nvPr/>
          </p:nvSpPr>
          <p:spPr bwMode="auto">
            <a:xfrm>
              <a:off x="7461250" y="4775200"/>
              <a:ext cx="298450"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endParaRPr lang="en-US" sz="1801"/>
            </a:p>
          </p:txBody>
        </p:sp>
        <p:sp>
          <p:nvSpPr>
            <p:cNvPr id="110" name="Line 20"/>
            <p:cNvSpPr>
              <a:spLocks noChangeShapeType="1"/>
            </p:cNvSpPr>
            <p:nvPr/>
          </p:nvSpPr>
          <p:spPr bwMode="auto">
            <a:xfrm>
              <a:off x="7759700" y="4873625"/>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endParaRPr lang="en-US" sz="1801"/>
            </a:p>
          </p:txBody>
        </p:sp>
        <p:sp>
          <p:nvSpPr>
            <p:cNvPr id="111" name="Line 21"/>
            <p:cNvSpPr>
              <a:spLocks noChangeShapeType="1"/>
            </p:cNvSpPr>
            <p:nvPr/>
          </p:nvSpPr>
          <p:spPr bwMode="auto">
            <a:xfrm>
              <a:off x="7981950" y="338455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endParaRPr lang="en-US" sz="1801"/>
            </a:p>
          </p:txBody>
        </p:sp>
        <p:sp>
          <p:nvSpPr>
            <p:cNvPr id="112" name="Line 22"/>
            <p:cNvSpPr>
              <a:spLocks noChangeShapeType="1"/>
            </p:cNvSpPr>
            <p:nvPr/>
          </p:nvSpPr>
          <p:spPr bwMode="auto">
            <a:xfrm>
              <a:off x="7981950" y="338455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endParaRPr lang="en-US" sz="1801"/>
            </a:p>
          </p:txBody>
        </p:sp>
        <p:sp>
          <p:nvSpPr>
            <p:cNvPr id="113" name="Freeform 23"/>
            <p:cNvSpPr>
              <a:spLocks noEditPoints="1"/>
            </p:cNvSpPr>
            <p:nvPr/>
          </p:nvSpPr>
          <p:spPr bwMode="auto">
            <a:xfrm>
              <a:off x="6621463" y="5003800"/>
              <a:ext cx="1306513" cy="434975"/>
            </a:xfrm>
            <a:custGeom>
              <a:avLst/>
              <a:gdLst>
                <a:gd name="T0" fmla="*/ 544 w 823"/>
                <a:gd name="T1" fmla="*/ 115 h 274"/>
                <a:gd name="T2" fmla="*/ 462 w 823"/>
                <a:gd name="T3" fmla="*/ 115 h 274"/>
                <a:gd name="T4" fmla="*/ 462 w 823"/>
                <a:gd name="T5" fmla="*/ 0 h 274"/>
                <a:gd name="T6" fmla="*/ 361 w 823"/>
                <a:gd name="T7" fmla="*/ 0 h 274"/>
                <a:gd name="T8" fmla="*/ 361 w 823"/>
                <a:gd name="T9" fmla="*/ 115 h 274"/>
                <a:gd name="T10" fmla="*/ 284 w 823"/>
                <a:gd name="T11" fmla="*/ 115 h 274"/>
                <a:gd name="T12" fmla="*/ 284 w 823"/>
                <a:gd name="T13" fmla="*/ 144 h 274"/>
                <a:gd name="T14" fmla="*/ 0 w 823"/>
                <a:gd name="T15" fmla="*/ 144 h 274"/>
                <a:gd name="T16" fmla="*/ 0 w 823"/>
                <a:gd name="T17" fmla="*/ 245 h 274"/>
                <a:gd name="T18" fmla="*/ 284 w 823"/>
                <a:gd name="T19" fmla="*/ 245 h 274"/>
                <a:gd name="T20" fmla="*/ 284 w 823"/>
                <a:gd name="T21" fmla="*/ 274 h 274"/>
                <a:gd name="T22" fmla="*/ 544 w 823"/>
                <a:gd name="T23" fmla="*/ 274 h 274"/>
                <a:gd name="T24" fmla="*/ 544 w 823"/>
                <a:gd name="T25" fmla="*/ 245 h 274"/>
                <a:gd name="T26" fmla="*/ 823 w 823"/>
                <a:gd name="T27" fmla="*/ 245 h 274"/>
                <a:gd name="T28" fmla="*/ 823 w 823"/>
                <a:gd name="T29" fmla="*/ 144 h 274"/>
                <a:gd name="T30" fmla="*/ 544 w 823"/>
                <a:gd name="T31" fmla="*/ 144 h 274"/>
                <a:gd name="T32" fmla="*/ 544 w 823"/>
                <a:gd name="T33" fmla="*/ 115 h 274"/>
                <a:gd name="T34" fmla="*/ 544 w 823"/>
                <a:gd name="T35" fmla="*/ 115 h 274"/>
                <a:gd name="T36" fmla="*/ 544 w 823"/>
                <a:gd name="T37" fmla="*/ 115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23" h="274">
                  <a:moveTo>
                    <a:pt x="544" y="115"/>
                  </a:moveTo>
                  <a:lnTo>
                    <a:pt x="462" y="115"/>
                  </a:lnTo>
                  <a:lnTo>
                    <a:pt x="462" y="0"/>
                  </a:lnTo>
                  <a:lnTo>
                    <a:pt x="361" y="0"/>
                  </a:lnTo>
                  <a:lnTo>
                    <a:pt x="361" y="115"/>
                  </a:lnTo>
                  <a:lnTo>
                    <a:pt x="284" y="115"/>
                  </a:lnTo>
                  <a:lnTo>
                    <a:pt x="284" y="144"/>
                  </a:lnTo>
                  <a:lnTo>
                    <a:pt x="0" y="144"/>
                  </a:lnTo>
                  <a:lnTo>
                    <a:pt x="0" y="245"/>
                  </a:lnTo>
                  <a:lnTo>
                    <a:pt x="284" y="245"/>
                  </a:lnTo>
                  <a:lnTo>
                    <a:pt x="284" y="274"/>
                  </a:lnTo>
                  <a:lnTo>
                    <a:pt x="544" y="274"/>
                  </a:lnTo>
                  <a:lnTo>
                    <a:pt x="544" y="245"/>
                  </a:lnTo>
                  <a:lnTo>
                    <a:pt x="823" y="245"/>
                  </a:lnTo>
                  <a:lnTo>
                    <a:pt x="823" y="144"/>
                  </a:lnTo>
                  <a:lnTo>
                    <a:pt x="544" y="144"/>
                  </a:lnTo>
                  <a:lnTo>
                    <a:pt x="544" y="115"/>
                  </a:lnTo>
                  <a:close/>
                  <a:moveTo>
                    <a:pt x="544" y="115"/>
                  </a:moveTo>
                  <a:lnTo>
                    <a:pt x="544" y="115"/>
                  </a:lnTo>
                  <a:close/>
                </a:path>
              </a:pathLst>
            </a:custGeom>
            <a:solidFill>
              <a:schemeClr val="bg1"/>
            </a:solidFill>
            <a:ln>
              <a:noFill/>
            </a:ln>
          </p:spPr>
          <p:txBody>
            <a:bodyPr vert="horz" wrap="square" lIns="91440" tIns="45721" rIns="91440" bIns="45721" numCol="1" anchor="t" anchorCtr="0" compatLnSpc="1">
              <a:prstTxWarp prst="textNoShape">
                <a:avLst/>
              </a:prstTxWarp>
            </a:bodyPr>
            <a:lstStyle/>
            <a:p>
              <a:endParaRPr lang="en-US" sz="1801"/>
            </a:p>
          </p:txBody>
        </p:sp>
        <p:sp>
          <p:nvSpPr>
            <p:cNvPr id="114" name="Freeform 24"/>
            <p:cNvSpPr>
              <a:spLocks/>
            </p:cNvSpPr>
            <p:nvPr/>
          </p:nvSpPr>
          <p:spPr bwMode="auto">
            <a:xfrm>
              <a:off x="6621463" y="5003800"/>
              <a:ext cx="1306513" cy="434975"/>
            </a:xfrm>
            <a:custGeom>
              <a:avLst/>
              <a:gdLst>
                <a:gd name="T0" fmla="*/ 544 w 823"/>
                <a:gd name="T1" fmla="*/ 115 h 274"/>
                <a:gd name="T2" fmla="*/ 462 w 823"/>
                <a:gd name="T3" fmla="*/ 115 h 274"/>
                <a:gd name="T4" fmla="*/ 462 w 823"/>
                <a:gd name="T5" fmla="*/ 0 h 274"/>
                <a:gd name="T6" fmla="*/ 361 w 823"/>
                <a:gd name="T7" fmla="*/ 0 h 274"/>
                <a:gd name="T8" fmla="*/ 361 w 823"/>
                <a:gd name="T9" fmla="*/ 115 h 274"/>
                <a:gd name="T10" fmla="*/ 284 w 823"/>
                <a:gd name="T11" fmla="*/ 115 h 274"/>
                <a:gd name="T12" fmla="*/ 284 w 823"/>
                <a:gd name="T13" fmla="*/ 144 h 274"/>
                <a:gd name="T14" fmla="*/ 0 w 823"/>
                <a:gd name="T15" fmla="*/ 144 h 274"/>
                <a:gd name="T16" fmla="*/ 0 w 823"/>
                <a:gd name="T17" fmla="*/ 245 h 274"/>
                <a:gd name="T18" fmla="*/ 284 w 823"/>
                <a:gd name="T19" fmla="*/ 245 h 274"/>
                <a:gd name="T20" fmla="*/ 284 w 823"/>
                <a:gd name="T21" fmla="*/ 274 h 274"/>
                <a:gd name="T22" fmla="*/ 544 w 823"/>
                <a:gd name="T23" fmla="*/ 274 h 274"/>
                <a:gd name="T24" fmla="*/ 544 w 823"/>
                <a:gd name="T25" fmla="*/ 245 h 274"/>
                <a:gd name="T26" fmla="*/ 823 w 823"/>
                <a:gd name="T27" fmla="*/ 245 h 274"/>
                <a:gd name="T28" fmla="*/ 823 w 823"/>
                <a:gd name="T29" fmla="*/ 144 h 274"/>
                <a:gd name="T30" fmla="*/ 544 w 823"/>
                <a:gd name="T31" fmla="*/ 144 h 274"/>
                <a:gd name="T32" fmla="*/ 544 w 823"/>
                <a:gd name="T33" fmla="*/ 115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23" h="274">
                  <a:moveTo>
                    <a:pt x="544" y="115"/>
                  </a:moveTo>
                  <a:lnTo>
                    <a:pt x="462" y="115"/>
                  </a:lnTo>
                  <a:lnTo>
                    <a:pt x="462" y="0"/>
                  </a:lnTo>
                  <a:lnTo>
                    <a:pt x="361" y="0"/>
                  </a:lnTo>
                  <a:lnTo>
                    <a:pt x="361" y="115"/>
                  </a:lnTo>
                  <a:lnTo>
                    <a:pt x="284" y="115"/>
                  </a:lnTo>
                  <a:lnTo>
                    <a:pt x="284" y="144"/>
                  </a:lnTo>
                  <a:lnTo>
                    <a:pt x="0" y="144"/>
                  </a:lnTo>
                  <a:lnTo>
                    <a:pt x="0" y="245"/>
                  </a:lnTo>
                  <a:lnTo>
                    <a:pt x="284" y="245"/>
                  </a:lnTo>
                  <a:lnTo>
                    <a:pt x="284" y="274"/>
                  </a:lnTo>
                  <a:lnTo>
                    <a:pt x="544" y="274"/>
                  </a:lnTo>
                  <a:lnTo>
                    <a:pt x="544" y="245"/>
                  </a:lnTo>
                  <a:lnTo>
                    <a:pt x="823" y="245"/>
                  </a:lnTo>
                  <a:lnTo>
                    <a:pt x="823" y="144"/>
                  </a:lnTo>
                  <a:lnTo>
                    <a:pt x="544" y="144"/>
                  </a:lnTo>
                  <a:lnTo>
                    <a:pt x="544" y="1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endParaRPr lang="en-US" sz="1801"/>
            </a:p>
          </p:txBody>
        </p:sp>
        <p:sp>
          <p:nvSpPr>
            <p:cNvPr id="115" name="Line 25"/>
            <p:cNvSpPr>
              <a:spLocks noChangeShapeType="1"/>
            </p:cNvSpPr>
            <p:nvPr/>
          </p:nvSpPr>
          <p:spPr bwMode="auto">
            <a:xfrm>
              <a:off x="7485063" y="518636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1" rIns="91440" bIns="45721" numCol="1" anchor="t" anchorCtr="0" compatLnSpc="1">
              <a:prstTxWarp prst="textNoShape">
                <a:avLst/>
              </a:prstTxWarp>
            </a:bodyPr>
            <a:lstStyle/>
            <a:p>
              <a:endParaRPr lang="en-US" sz="1801"/>
            </a:p>
          </p:txBody>
        </p:sp>
        <p:sp>
          <p:nvSpPr>
            <p:cNvPr id="116" name="Freeform 26"/>
            <p:cNvSpPr>
              <a:spLocks/>
            </p:cNvSpPr>
            <p:nvPr/>
          </p:nvSpPr>
          <p:spPr bwMode="auto">
            <a:xfrm>
              <a:off x="6102350" y="3025775"/>
              <a:ext cx="2344738" cy="1374775"/>
            </a:xfrm>
            <a:custGeom>
              <a:avLst/>
              <a:gdLst>
                <a:gd name="T0" fmla="*/ 1169 w 1477"/>
                <a:gd name="T1" fmla="*/ 221 h 866"/>
                <a:gd name="T2" fmla="*/ 1131 w 1477"/>
                <a:gd name="T3" fmla="*/ 183 h 866"/>
                <a:gd name="T4" fmla="*/ 1044 w 1477"/>
                <a:gd name="T5" fmla="*/ 115 h 866"/>
                <a:gd name="T6" fmla="*/ 933 w 1477"/>
                <a:gd name="T7" fmla="*/ 82 h 866"/>
                <a:gd name="T8" fmla="*/ 876 w 1477"/>
                <a:gd name="T9" fmla="*/ 82 h 866"/>
                <a:gd name="T10" fmla="*/ 852 w 1477"/>
                <a:gd name="T11" fmla="*/ 72 h 866"/>
                <a:gd name="T12" fmla="*/ 751 w 1477"/>
                <a:gd name="T13" fmla="*/ 19 h 866"/>
                <a:gd name="T14" fmla="*/ 635 w 1477"/>
                <a:gd name="T15" fmla="*/ 0 h 866"/>
                <a:gd name="T16" fmla="*/ 486 w 1477"/>
                <a:gd name="T17" fmla="*/ 34 h 866"/>
                <a:gd name="T18" fmla="*/ 361 w 1477"/>
                <a:gd name="T19" fmla="*/ 120 h 866"/>
                <a:gd name="T20" fmla="*/ 308 w 1477"/>
                <a:gd name="T21" fmla="*/ 207 h 866"/>
                <a:gd name="T22" fmla="*/ 279 w 1477"/>
                <a:gd name="T23" fmla="*/ 226 h 866"/>
                <a:gd name="T24" fmla="*/ 120 w 1477"/>
                <a:gd name="T25" fmla="*/ 298 h 866"/>
                <a:gd name="T26" fmla="*/ 19 w 1477"/>
                <a:gd name="T27" fmla="*/ 433 h 866"/>
                <a:gd name="T28" fmla="*/ 0 w 1477"/>
                <a:gd name="T29" fmla="*/ 548 h 866"/>
                <a:gd name="T30" fmla="*/ 43 w 1477"/>
                <a:gd name="T31" fmla="*/ 707 h 866"/>
                <a:gd name="T32" fmla="*/ 154 w 1477"/>
                <a:gd name="T33" fmla="*/ 823 h 866"/>
                <a:gd name="T34" fmla="*/ 255 w 1477"/>
                <a:gd name="T35" fmla="*/ 770 h 866"/>
                <a:gd name="T36" fmla="*/ 260 w 1477"/>
                <a:gd name="T37" fmla="*/ 736 h 866"/>
                <a:gd name="T38" fmla="*/ 207 w 1477"/>
                <a:gd name="T39" fmla="*/ 707 h 866"/>
                <a:gd name="T40" fmla="*/ 149 w 1477"/>
                <a:gd name="T41" fmla="*/ 640 h 866"/>
                <a:gd name="T42" fmla="*/ 125 w 1477"/>
                <a:gd name="T43" fmla="*/ 548 h 866"/>
                <a:gd name="T44" fmla="*/ 144 w 1477"/>
                <a:gd name="T45" fmla="*/ 471 h 866"/>
                <a:gd name="T46" fmla="*/ 212 w 1477"/>
                <a:gd name="T47" fmla="*/ 385 h 866"/>
                <a:gd name="T48" fmla="*/ 322 w 1477"/>
                <a:gd name="T49" fmla="*/ 351 h 866"/>
                <a:gd name="T50" fmla="*/ 342 w 1477"/>
                <a:gd name="T51" fmla="*/ 351 h 866"/>
                <a:gd name="T52" fmla="*/ 395 w 1477"/>
                <a:gd name="T53" fmla="*/ 327 h 866"/>
                <a:gd name="T54" fmla="*/ 419 w 1477"/>
                <a:gd name="T55" fmla="*/ 269 h 866"/>
                <a:gd name="T56" fmla="*/ 491 w 1477"/>
                <a:gd name="T57" fmla="*/ 178 h 866"/>
                <a:gd name="T58" fmla="*/ 597 w 1477"/>
                <a:gd name="T59" fmla="*/ 130 h 866"/>
                <a:gd name="T60" fmla="*/ 678 w 1477"/>
                <a:gd name="T61" fmla="*/ 130 h 866"/>
                <a:gd name="T62" fmla="*/ 799 w 1477"/>
                <a:gd name="T63" fmla="*/ 192 h 866"/>
                <a:gd name="T64" fmla="*/ 828 w 1477"/>
                <a:gd name="T65" fmla="*/ 212 h 866"/>
                <a:gd name="T66" fmla="*/ 856 w 1477"/>
                <a:gd name="T67" fmla="*/ 212 h 866"/>
                <a:gd name="T68" fmla="*/ 924 w 1477"/>
                <a:gd name="T69" fmla="*/ 207 h 866"/>
                <a:gd name="T70" fmla="*/ 1001 w 1477"/>
                <a:gd name="T71" fmla="*/ 236 h 866"/>
                <a:gd name="T72" fmla="*/ 1058 w 1477"/>
                <a:gd name="T73" fmla="*/ 293 h 866"/>
                <a:gd name="T74" fmla="*/ 1082 w 1477"/>
                <a:gd name="T75" fmla="*/ 332 h 866"/>
                <a:gd name="T76" fmla="*/ 1135 w 1477"/>
                <a:gd name="T77" fmla="*/ 351 h 866"/>
                <a:gd name="T78" fmla="*/ 1155 w 1477"/>
                <a:gd name="T79" fmla="*/ 351 h 866"/>
                <a:gd name="T80" fmla="*/ 1265 w 1477"/>
                <a:gd name="T81" fmla="*/ 385 h 866"/>
                <a:gd name="T82" fmla="*/ 1337 w 1477"/>
                <a:gd name="T83" fmla="*/ 471 h 866"/>
                <a:gd name="T84" fmla="*/ 1352 w 1477"/>
                <a:gd name="T85" fmla="*/ 548 h 866"/>
                <a:gd name="T86" fmla="*/ 1328 w 1477"/>
                <a:gd name="T87" fmla="*/ 640 h 866"/>
                <a:gd name="T88" fmla="*/ 1270 w 1477"/>
                <a:gd name="T89" fmla="*/ 707 h 866"/>
                <a:gd name="T90" fmla="*/ 1217 w 1477"/>
                <a:gd name="T91" fmla="*/ 736 h 866"/>
                <a:gd name="T92" fmla="*/ 1222 w 1477"/>
                <a:gd name="T93" fmla="*/ 866 h 866"/>
                <a:gd name="T94" fmla="*/ 1323 w 1477"/>
                <a:gd name="T95" fmla="*/ 823 h 866"/>
                <a:gd name="T96" fmla="*/ 1439 w 1477"/>
                <a:gd name="T97" fmla="*/ 707 h 866"/>
                <a:gd name="T98" fmla="*/ 1477 w 1477"/>
                <a:gd name="T99" fmla="*/ 548 h 866"/>
                <a:gd name="T100" fmla="*/ 1472 w 1477"/>
                <a:gd name="T101" fmla="*/ 486 h 866"/>
                <a:gd name="T102" fmla="*/ 1395 w 1477"/>
                <a:gd name="T103" fmla="*/ 327 h 866"/>
                <a:gd name="T104" fmla="*/ 1241 w 1477"/>
                <a:gd name="T105" fmla="*/ 236 h 866"/>
                <a:gd name="T106" fmla="*/ 1184 w 1477"/>
                <a:gd name="T107" fmla="*/ 226 h 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77" h="866">
                  <a:moveTo>
                    <a:pt x="1184" y="226"/>
                  </a:moveTo>
                  <a:lnTo>
                    <a:pt x="1184" y="226"/>
                  </a:lnTo>
                  <a:lnTo>
                    <a:pt x="1169" y="221"/>
                  </a:lnTo>
                  <a:lnTo>
                    <a:pt x="1155" y="212"/>
                  </a:lnTo>
                  <a:lnTo>
                    <a:pt x="1155" y="212"/>
                  </a:lnTo>
                  <a:lnTo>
                    <a:pt x="1131" y="183"/>
                  </a:lnTo>
                  <a:lnTo>
                    <a:pt x="1107" y="159"/>
                  </a:lnTo>
                  <a:lnTo>
                    <a:pt x="1073" y="135"/>
                  </a:lnTo>
                  <a:lnTo>
                    <a:pt x="1044" y="115"/>
                  </a:lnTo>
                  <a:lnTo>
                    <a:pt x="1006" y="101"/>
                  </a:lnTo>
                  <a:lnTo>
                    <a:pt x="972" y="87"/>
                  </a:lnTo>
                  <a:lnTo>
                    <a:pt x="933" y="82"/>
                  </a:lnTo>
                  <a:lnTo>
                    <a:pt x="895" y="82"/>
                  </a:lnTo>
                  <a:lnTo>
                    <a:pt x="895" y="82"/>
                  </a:lnTo>
                  <a:lnTo>
                    <a:pt x="876" y="82"/>
                  </a:lnTo>
                  <a:lnTo>
                    <a:pt x="876" y="82"/>
                  </a:lnTo>
                  <a:lnTo>
                    <a:pt x="866" y="77"/>
                  </a:lnTo>
                  <a:lnTo>
                    <a:pt x="852" y="72"/>
                  </a:lnTo>
                  <a:lnTo>
                    <a:pt x="852" y="72"/>
                  </a:lnTo>
                  <a:lnTo>
                    <a:pt x="803" y="43"/>
                  </a:lnTo>
                  <a:lnTo>
                    <a:pt x="751" y="19"/>
                  </a:lnTo>
                  <a:lnTo>
                    <a:pt x="693" y="5"/>
                  </a:lnTo>
                  <a:lnTo>
                    <a:pt x="635" y="0"/>
                  </a:lnTo>
                  <a:lnTo>
                    <a:pt x="635" y="0"/>
                  </a:lnTo>
                  <a:lnTo>
                    <a:pt x="582" y="5"/>
                  </a:lnTo>
                  <a:lnTo>
                    <a:pt x="529" y="14"/>
                  </a:lnTo>
                  <a:lnTo>
                    <a:pt x="486" y="34"/>
                  </a:lnTo>
                  <a:lnTo>
                    <a:pt x="438" y="58"/>
                  </a:lnTo>
                  <a:lnTo>
                    <a:pt x="399" y="87"/>
                  </a:lnTo>
                  <a:lnTo>
                    <a:pt x="361" y="120"/>
                  </a:lnTo>
                  <a:lnTo>
                    <a:pt x="332" y="164"/>
                  </a:lnTo>
                  <a:lnTo>
                    <a:pt x="308" y="207"/>
                  </a:lnTo>
                  <a:lnTo>
                    <a:pt x="308" y="207"/>
                  </a:lnTo>
                  <a:lnTo>
                    <a:pt x="293" y="221"/>
                  </a:lnTo>
                  <a:lnTo>
                    <a:pt x="279" y="226"/>
                  </a:lnTo>
                  <a:lnTo>
                    <a:pt x="279" y="226"/>
                  </a:lnTo>
                  <a:lnTo>
                    <a:pt x="221" y="241"/>
                  </a:lnTo>
                  <a:lnTo>
                    <a:pt x="168" y="265"/>
                  </a:lnTo>
                  <a:lnTo>
                    <a:pt x="120" y="298"/>
                  </a:lnTo>
                  <a:lnTo>
                    <a:pt x="82" y="337"/>
                  </a:lnTo>
                  <a:lnTo>
                    <a:pt x="48" y="380"/>
                  </a:lnTo>
                  <a:lnTo>
                    <a:pt x="19" y="433"/>
                  </a:lnTo>
                  <a:lnTo>
                    <a:pt x="5" y="491"/>
                  </a:lnTo>
                  <a:lnTo>
                    <a:pt x="0" y="548"/>
                  </a:lnTo>
                  <a:lnTo>
                    <a:pt x="0" y="548"/>
                  </a:lnTo>
                  <a:lnTo>
                    <a:pt x="5" y="606"/>
                  </a:lnTo>
                  <a:lnTo>
                    <a:pt x="19" y="659"/>
                  </a:lnTo>
                  <a:lnTo>
                    <a:pt x="43" y="707"/>
                  </a:lnTo>
                  <a:lnTo>
                    <a:pt x="72" y="750"/>
                  </a:lnTo>
                  <a:lnTo>
                    <a:pt x="111" y="794"/>
                  </a:lnTo>
                  <a:lnTo>
                    <a:pt x="154" y="823"/>
                  </a:lnTo>
                  <a:lnTo>
                    <a:pt x="202" y="847"/>
                  </a:lnTo>
                  <a:lnTo>
                    <a:pt x="255" y="866"/>
                  </a:lnTo>
                  <a:lnTo>
                    <a:pt x="255" y="770"/>
                  </a:lnTo>
                  <a:lnTo>
                    <a:pt x="255" y="770"/>
                  </a:lnTo>
                  <a:lnTo>
                    <a:pt x="260" y="750"/>
                  </a:lnTo>
                  <a:lnTo>
                    <a:pt x="260" y="736"/>
                  </a:lnTo>
                  <a:lnTo>
                    <a:pt x="260" y="736"/>
                  </a:lnTo>
                  <a:lnTo>
                    <a:pt x="236" y="722"/>
                  </a:lnTo>
                  <a:lnTo>
                    <a:pt x="207" y="707"/>
                  </a:lnTo>
                  <a:lnTo>
                    <a:pt x="183" y="688"/>
                  </a:lnTo>
                  <a:lnTo>
                    <a:pt x="164" y="664"/>
                  </a:lnTo>
                  <a:lnTo>
                    <a:pt x="149" y="640"/>
                  </a:lnTo>
                  <a:lnTo>
                    <a:pt x="140" y="611"/>
                  </a:lnTo>
                  <a:lnTo>
                    <a:pt x="130" y="582"/>
                  </a:lnTo>
                  <a:lnTo>
                    <a:pt x="125" y="548"/>
                  </a:lnTo>
                  <a:lnTo>
                    <a:pt x="125" y="548"/>
                  </a:lnTo>
                  <a:lnTo>
                    <a:pt x="130" y="510"/>
                  </a:lnTo>
                  <a:lnTo>
                    <a:pt x="144" y="471"/>
                  </a:lnTo>
                  <a:lnTo>
                    <a:pt x="159" y="438"/>
                  </a:lnTo>
                  <a:lnTo>
                    <a:pt x="183" y="409"/>
                  </a:lnTo>
                  <a:lnTo>
                    <a:pt x="212" y="385"/>
                  </a:lnTo>
                  <a:lnTo>
                    <a:pt x="245" y="366"/>
                  </a:lnTo>
                  <a:lnTo>
                    <a:pt x="284" y="356"/>
                  </a:lnTo>
                  <a:lnTo>
                    <a:pt x="322" y="351"/>
                  </a:lnTo>
                  <a:lnTo>
                    <a:pt x="322" y="351"/>
                  </a:lnTo>
                  <a:lnTo>
                    <a:pt x="342" y="351"/>
                  </a:lnTo>
                  <a:lnTo>
                    <a:pt x="342" y="351"/>
                  </a:lnTo>
                  <a:lnTo>
                    <a:pt x="361" y="351"/>
                  </a:lnTo>
                  <a:lnTo>
                    <a:pt x="380" y="342"/>
                  </a:lnTo>
                  <a:lnTo>
                    <a:pt x="395" y="327"/>
                  </a:lnTo>
                  <a:lnTo>
                    <a:pt x="404" y="303"/>
                  </a:lnTo>
                  <a:lnTo>
                    <a:pt x="404" y="303"/>
                  </a:lnTo>
                  <a:lnTo>
                    <a:pt x="419" y="269"/>
                  </a:lnTo>
                  <a:lnTo>
                    <a:pt x="438" y="236"/>
                  </a:lnTo>
                  <a:lnTo>
                    <a:pt x="462" y="202"/>
                  </a:lnTo>
                  <a:lnTo>
                    <a:pt x="491" y="178"/>
                  </a:lnTo>
                  <a:lnTo>
                    <a:pt x="520" y="154"/>
                  </a:lnTo>
                  <a:lnTo>
                    <a:pt x="558" y="139"/>
                  </a:lnTo>
                  <a:lnTo>
                    <a:pt x="597" y="130"/>
                  </a:lnTo>
                  <a:lnTo>
                    <a:pt x="635" y="125"/>
                  </a:lnTo>
                  <a:lnTo>
                    <a:pt x="635" y="125"/>
                  </a:lnTo>
                  <a:lnTo>
                    <a:pt x="678" y="130"/>
                  </a:lnTo>
                  <a:lnTo>
                    <a:pt x="722" y="144"/>
                  </a:lnTo>
                  <a:lnTo>
                    <a:pt x="765" y="164"/>
                  </a:lnTo>
                  <a:lnTo>
                    <a:pt x="799" y="192"/>
                  </a:lnTo>
                  <a:lnTo>
                    <a:pt x="799" y="192"/>
                  </a:lnTo>
                  <a:lnTo>
                    <a:pt x="813" y="202"/>
                  </a:lnTo>
                  <a:lnTo>
                    <a:pt x="828" y="212"/>
                  </a:lnTo>
                  <a:lnTo>
                    <a:pt x="842" y="212"/>
                  </a:lnTo>
                  <a:lnTo>
                    <a:pt x="856" y="212"/>
                  </a:lnTo>
                  <a:lnTo>
                    <a:pt x="856" y="212"/>
                  </a:lnTo>
                  <a:lnTo>
                    <a:pt x="895" y="207"/>
                  </a:lnTo>
                  <a:lnTo>
                    <a:pt x="895" y="207"/>
                  </a:lnTo>
                  <a:lnTo>
                    <a:pt x="924" y="207"/>
                  </a:lnTo>
                  <a:lnTo>
                    <a:pt x="953" y="216"/>
                  </a:lnTo>
                  <a:lnTo>
                    <a:pt x="977" y="226"/>
                  </a:lnTo>
                  <a:lnTo>
                    <a:pt x="1001" y="236"/>
                  </a:lnTo>
                  <a:lnTo>
                    <a:pt x="1020" y="255"/>
                  </a:lnTo>
                  <a:lnTo>
                    <a:pt x="1039" y="269"/>
                  </a:lnTo>
                  <a:lnTo>
                    <a:pt x="1058" y="293"/>
                  </a:lnTo>
                  <a:lnTo>
                    <a:pt x="1073" y="317"/>
                  </a:lnTo>
                  <a:lnTo>
                    <a:pt x="1073" y="317"/>
                  </a:lnTo>
                  <a:lnTo>
                    <a:pt x="1082" y="332"/>
                  </a:lnTo>
                  <a:lnTo>
                    <a:pt x="1097" y="346"/>
                  </a:lnTo>
                  <a:lnTo>
                    <a:pt x="1116" y="351"/>
                  </a:lnTo>
                  <a:lnTo>
                    <a:pt x="1135" y="351"/>
                  </a:lnTo>
                  <a:lnTo>
                    <a:pt x="1135" y="351"/>
                  </a:lnTo>
                  <a:lnTo>
                    <a:pt x="1155" y="351"/>
                  </a:lnTo>
                  <a:lnTo>
                    <a:pt x="1155" y="351"/>
                  </a:lnTo>
                  <a:lnTo>
                    <a:pt x="1193" y="356"/>
                  </a:lnTo>
                  <a:lnTo>
                    <a:pt x="1232" y="366"/>
                  </a:lnTo>
                  <a:lnTo>
                    <a:pt x="1265" y="385"/>
                  </a:lnTo>
                  <a:lnTo>
                    <a:pt x="1294" y="409"/>
                  </a:lnTo>
                  <a:lnTo>
                    <a:pt x="1318" y="438"/>
                  </a:lnTo>
                  <a:lnTo>
                    <a:pt x="1337" y="471"/>
                  </a:lnTo>
                  <a:lnTo>
                    <a:pt x="1347" y="510"/>
                  </a:lnTo>
                  <a:lnTo>
                    <a:pt x="1352" y="548"/>
                  </a:lnTo>
                  <a:lnTo>
                    <a:pt x="1352" y="548"/>
                  </a:lnTo>
                  <a:lnTo>
                    <a:pt x="1347" y="582"/>
                  </a:lnTo>
                  <a:lnTo>
                    <a:pt x="1342" y="611"/>
                  </a:lnTo>
                  <a:lnTo>
                    <a:pt x="1328" y="640"/>
                  </a:lnTo>
                  <a:lnTo>
                    <a:pt x="1313" y="664"/>
                  </a:lnTo>
                  <a:lnTo>
                    <a:pt x="1294" y="688"/>
                  </a:lnTo>
                  <a:lnTo>
                    <a:pt x="1270" y="707"/>
                  </a:lnTo>
                  <a:lnTo>
                    <a:pt x="1246" y="722"/>
                  </a:lnTo>
                  <a:lnTo>
                    <a:pt x="1217" y="736"/>
                  </a:lnTo>
                  <a:lnTo>
                    <a:pt x="1217" y="736"/>
                  </a:lnTo>
                  <a:lnTo>
                    <a:pt x="1222" y="750"/>
                  </a:lnTo>
                  <a:lnTo>
                    <a:pt x="1222" y="770"/>
                  </a:lnTo>
                  <a:lnTo>
                    <a:pt x="1222" y="866"/>
                  </a:lnTo>
                  <a:lnTo>
                    <a:pt x="1222" y="866"/>
                  </a:lnTo>
                  <a:lnTo>
                    <a:pt x="1275" y="847"/>
                  </a:lnTo>
                  <a:lnTo>
                    <a:pt x="1323" y="823"/>
                  </a:lnTo>
                  <a:lnTo>
                    <a:pt x="1366" y="794"/>
                  </a:lnTo>
                  <a:lnTo>
                    <a:pt x="1405" y="750"/>
                  </a:lnTo>
                  <a:lnTo>
                    <a:pt x="1439" y="707"/>
                  </a:lnTo>
                  <a:lnTo>
                    <a:pt x="1458" y="659"/>
                  </a:lnTo>
                  <a:lnTo>
                    <a:pt x="1472" y="606"/>
                  </a:lnTo>
                  <a:lnTo>
                    <a:pt x="1477" y="548"/>
                  </a:lnTo>
                  <a:lnTo>
                    <a:pt x="1477" y="548"/>
                  </a:lnTo>
                  <a:lnTo>
                    <a:pt x="1477" y="515"/>
                  </a:lnTo>
                  <a:lnTo>
                    <a:pt x="1472" y="486"/>
                  </a:lnTo>
                  <a:lnTo>
                    <a:pt x="1458" y="428"/>
                  </a:lnTo>
                  <a:lnTo>
                    <a:pt x="1429" y="375"/>
                  </a:lnTo>
                  <a:lnTo>
                    <a:pt x="1395" y="327"/>
                  </a:lnTo>
                  <a:lnTo>
                    <a:pt x="1347" y="289"/>
                  </a:lnTo>
                  <a:lnTo>
                    <a:pt x="1299" y="260"/>
                  </a:lnTo>
                  <a:lnTo>
                    <a:pt x="1241" y="236"/>
                  </a:lnTo>
                  <a:lnTo>
                    <a:pt x="1212" y="231"/>
                  </a:lnTo>
                  <a:lnTo>
                    <a:pt x="1184" y="226"/>
                  </a:lnTo>
                  <a:lnTo>
                    <a:pt x="1184" y="226"/>
                  </a:lnTo>
                  <a:close/>
                </a:path>
              </a:pathLst>
            </a:custGeom>
            <a:solidFill>
              <a:schemeClr val="accent2"/>
            </a:solidFill>
            <a:ln>
              <a:noFill/>
            </a:ln>
          </p:spPr>
          <p:txBody>
            <a:bodyPr vert="horz" wrap="square" lIns="91440" tIns="45721" rIns="91440" bIns="45721" numCol="1" anchor="t" anchorCtr="0" compatLnSpc="1">
              <a:prstTxWarp prst="textNoShape">
                <a:avLst/>
              </a:prstTxWarp>
            </a:bodyPr>
            <a:lstStyle/>
            <a:p>
              <a:endParaRPr lang="en-US" sz="1801"/>
            </a:p>
          </p:txBody>
        </p:sp>
      </p:grpSp>
    </p:spTree>
    <p:extLst>
      <p:ext uri="{BB962C8B-B14F-4D97-AF65-F5344CB8AC3E}">
        <p14:creationId xmlns:p14="http://schemas.microsoft.com/office/powerpoint/2010/main" val="262530079"/>
      </p:ext>
    </p:extLst>
  </p:cSld>
  <p:clrMapOvr>
    <a:masterClrMapping/>
  </p:clrMapOvr>
  <p:extLst>
    <p:ext uri="{DCECCB84-F9BA-43D5-87BE-67443E8EF086}">
      <p15:sldGuideLst xmlns:p15="http://schemas.microsoft.com/office/powerpoint/2012/main">
        <p15:guide id="1" orient="horz" pos="935">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4E26FF-1040-4569-9622-78F91D11FAA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CE06069-C957-438F-9B00-8A42D718EC5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02D9B8F-CB99-4861-821A-FD3DB4AF2EB9}"/>
              </a:ext>
            </a:extLst>
          </p:cNvPr>
          <p:cNvSpPr>
            <a:spLocks noGrp="1"/>
          </p:cNvSpPr>
          <p:nvPr>
            <p:ph type="dt" sz="half" idx="10"/>
          </p:nvPr>
        </p:nvSpPr>
        <p:spPr/>
        <p:txBody>
          <a:bodyPr/>
          <a:lstStyle/>
          <a:p>
            <a:fld id="{FDC1AC40-397F-449F-8E76-697FF1297A82}" type="datetimeFigureOut">
              <a:rPr lang="en-US" smtClean="0"/>
              <a:t>11/7/2022</a:t>
            </a:fld>
            <a:endParaRPr lang="en-US"/>
          </a:p>
        </p:txBody>
      </p:sp>
      <p:sp>
        <p:nvSpPr>
          <p:cNvPr id="5" name="Footer Placeholder 4">
            <a:extLst>
              <a:ext uri="{FF2B5EF4-FFF2-40B4-BE49-F238E27FC236}">
                <a16:creationId xmlns:a16="http://schemas.microsoft.com/office/drawing/2014/main" id="{CF44EC58-5E62-4361-B1C8-8B16437A944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22FE529-B1E9-4DD0-BB97-10CA7C7ECF77}"/>
              </a:ext>
            </a:extLst>
          </p:cNvPr>
          <p:cNvSpPr>
            <a:spLocks noGrp="1"/>
          </p:cNvSpPr>
          <p:nvPr>
            <p:ph type="sldNum" sz="quarter" idx="12"/>
          </p:nvPr>
        </p:nvSpPr>
        <p:spPr/>
        <p:txBody>
          <a:bodyPr/>
          <a:lstStyle/>
          <a:p>
            <a:fld id="{FEFE127A-B36E-4672-AB40-D6C463D3C51B}" type="slidenum">
              <a:rPr lang="en-US" smtClean="0"/>
              <a:t>‹#›</a:t>
            </a:fld>
            <a:endParaRPr lang="en-US"/>
          </a:p>
        </p:txBody>
      </p:sp>
    </p:spTree>
    <p:extLst>
      <p:ext uri="{BB962C8B-B14F-4D97-AF65-F5344CB8AC3E}">
        <p14:creationId xmlns:p14="http://schemas.microsoft.com/office/powerpoint/2010/main" val="240608791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theme" Target="../theme/theme2.xml"/><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slideLayout" Target="../slideLayouts/slideLayout20.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0" Type="http://schemas.openxmlformats.org/officeDocument/2006/relationships/slideLayout" Target="../slideLayouts/slideLayout18.xml"/><Relationship Id="rId4" Type="http://schemas.openxmlformats.org/officeDocument/2006/relationships/slideLayout" Target="../slideLayouts/slideLayout12.xml"/><Relationship Id="rId9" Type="http://schemas.openxmlformats.org/officeDocument/2006/relationships/slideLayout" Target="../slideLayouts/slideLayout1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0"/>
            </p:custDataLst>
          </p:nvPr>
        </p:nvGraphicFramePr>
        <p:xfrm>
          <a:off x="1590" y="1594"/>
          <a:ext cx="1586" cy="1587"/>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21" name="Object 20"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90" y="1594"/>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8593014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marL="0" marR="0" indent="0" algn="l" defTabSz="742541" rtl="0" eaLnBrk="1" fontAlgn="auto" latinLnBrk="0" hangingPunct="1">
        <a:lnSpc>
          <a:spcPct val="90000"/>
        </a:lnSpc>
        <a:spcBef>
          <a:spcPct val="0"/>
        </a:spcBef>
        <a:spcAft>
          <a:spcPts val="0"/>
        </a:spcAft>
        <a:buClrTx/>
        <a:buSzTx/>
        <a:buFontTx/>
        <a:buNone/>
        <a:tabLst/>
        <a:defRPr kumimoji="0" lang="en-US" sz="2436"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742541" rtl="0" eaLnBrk="1" latinLnBrk="0" hangingPunct="1">
        <a:lnSpc>
          <a:spcPct val="90000"/>
        </a:lnSpc>
        <a:spcBef>
          <a:spcPts val="813"/>
        </a:spcBef>
        <a:buFont typeface="Arial" panose="020B0604020202020204" pitchFamily="34" charset="0"/>
        <a:buNone/>
        <a:defRPr sz="1624" kern="1200">
          <a:solidFill>
            <a:schemeClr val="tx1"/>
          </a:solidFill>
          <a:latin typeface="+mj-lt"/>
          <a:ea typeface="+mn-ea"/>
          <a:cs typeface="+mn-cs"/>
        </a:defRPr>
      </a:lvl1pPr>
      <a:lvl2pPr marL="438306" indent="-145672" algn="l" defTabSz="742541" rtl="0" eaLnBrk="1" latinLnBrk="0" hangingPunct="1">
        <a:lnSpc>
          <a:spcPct val="90000"/>
        </a:lnSpc>
        <a:spcBef>
          <a:spcPts val="406"/>
        </a:spcBef>
        <a:buClr>
          <a:schemeClr val="accent1"/>
        </a:buClr>
        <a:buFont typeface="Arial" panose="020B0604020202020204" pitchFamily="34" charset="0"/>
        <a:buChar char="•"/>
        <a:defRPr sz="1462" kern="1200">
          <a:solidFill>
            <a:schemeClr val="tx1"/>
          </a:solidFill>
          <a:latin typeface="+mj-lt"/>
          <a:ea typeface="+mn-ea"/>
          <a:cs typeface="+mn-cs"/>
        </a:defRPr>
      </a:lvl2pPr>
      <a:lvl3pPr marL="730940" indent="-145672" algn="l" defTabSz="742541" rtl="0" eaLnBrk="1" latinLnBrk="0" hangingPunct="1">
        <a:lnSpc>
          <a:spcPct val="90000"/>
        </a:lnSpc>
        <a:spcBef>
          <a:spcPts val="406"/>
        </a:spcBef>
        <a:buClr>
          <a:schemeClr val="accent2"/>
        </a:buClr>
        <a:buFont typeface="Arial" panose="020B0604020202020204" pitchFamily="34" charset="0"/>
        <a:buChar char="•"/>
        <a:defRPr sz="1300" kern="1200">
          <a:solidFill>
            <a:schemeClr val="tx1"/>
          </a:solidFill>
          <a:latin typeface="+mj-lt"/>
          <a:ea typeface="+mn-ea"/>
          <a:cs typeface="+mn-cs"/>
        </a:defRPr>
      </a:lvl3pPr>
      <a:lvl4pPr marL="1023573" indent="-145672" algn="l" defTabSz="742541" rtl="0" eaLnBrk="1" latinLnBrk="0" hangingPunct="1">
        <a:lnSpc>
          <a:spcPct val="90000"/>
        </a:lnSpc>
        <a:spcBef>
          <a:spcPts val="406"/>
        </a:spcBef>
        <a:buClr>
          <a:schemeClr val="accent3"/>
        </a:buClr>
        <a:buFont typeface="Arial" panose="020B0604020202020204" pitchFamily="34" charset="0"/>
        <a:buChar char="•"/>
        <a:defRPr sz="1138" kern="1200">
          <a:solidFill>
            <a:schemeClr val="tx1"/>
          </a:solidFill>
          <a:latin typeface="+mj-lt"/>
          <a:ea typeface="+mn-ea"/>
          <a:cs typeface="+mn-cs"/>
        </a:defRPr>
      </a:lvl4pPr>
      <a:lvl5pPr marL="1316207" indent="-145672" algn="l" defTabSz="742541" rtl="0" eaLnBrk="1" latinLnBrk="0" hangingPunct="1">
        <a:lnSpc>
          <a:spcPct val="90000"/>
        </a:lnSpc>
        <a:spcBef>
          <a:spcPts val="406"/>
        </a:spcBef>
        <a:buClr>
          <a:schemeClr val="accent5"/>
        </a:buClr>
        <a:buFont typeface="Arial" panose="020B0604020202020204" pitchFamily="34" charset="0"/>
        <a:buChar char="•"/>
        <a:defRPr sz="1138" kern="1200">
          <a:solidFill>
            <a:schemeClr val="tx1"/>
          </a:solidFill>
          <a:latin typeface="+mj-lt"/>
          <a:ea typeface="+mn-ea"/>
          <a:cs typeface="+mn-cs"/>
        </a:defRPr>
      </a:lvl5pPr>
      <a:lvl6pPr marL="2041989" indent="-185635" algn="l" defTabSz="742541" rtl="0" eaLnBrk="1" latinLnBrk="0" hangingPunct="1">
        <a:lnSpc>
          <a:spcPct val="90000"/>
        </a:lnSpc>
        <a:spcBef>
          <a:spcPts val="406"/>
        </a:spcBef>
        <a:buFont typeface="Arial" panose="020B0604020202020204" pitchFamily="34" charset="0"/>
        <a:buChar char="•"/>
        <a:defRPr sz="1462" kern="1200">
          <a:solidFill>
            <a:schemeClr val="tx1"/>
          </a:solidFill>
          <a:latin typeface="+mn-lt"/>
          <a:ea typeface="+mn-ea"/>
          <a:cs typeface="+mn-cs"/>
        </a:defRPr>
      </a:lvl6pPr>
      <a:lvl7pPr marL="2413260" indent="-185635" algn="l" defTabSz="742541" rtl="0" eaLnBrk="1" latinLnBrk="0" hangingPunct="1">
        <a:lnSpc>
          <a:spcPct val="90000"/>
        </a:lnSpc>
        <a:spcBef>
          <a:spcPts val="406"/>
        </a:spcBef>
        <a:buFont typeface="Arial" panose="020B0604020202020204" pitchFamily="34" charset="0"/>
        <a:buChar char="•"/>
        <a:defRPr sz="1462" kern="1200">
          <a:solidFill>
            <a:schemeClr val="tx1"/>
          </a:solidFill>
          <a:latin typeface="+mn-lt"/>
          <a:ea typeface="+mn-ea"/>
          <a:cs typeface="+mn-cs"/>
        </a:defRPr>
      </a:lvl7pPr>
      <a:lvl8pPr marL="2784531" indent="-185635" algn="l" defTabSz="742541" rtl="0" eaLnBrk="1" latinLnBrk="0" hangingPunct="1">
        <a:lnSpc>
          <a:spcPct val="90000"/>
        </a:lnSpc>
        <a:spcBef>
          <a:spcPts val="406"/>
        </a:spcBef>
        <a:buFont typeface="Arial" panose="020B0604020202020204" pitchFamily="34" charset="0"/>
        <a:buChar char="•"/>
        <a:defRPr sz="1462" kern="1200">
          <a:solidFill>
            <a:schemeClr val="tx1"/>
          </a:solidFill>
          <a:latin typeface="+mn-lt"/>
          <a:ea typeface="+mn-ea"/>
          <a:cs typeface="+mn-cs"/>
        </a:defRPr>
      </a:lvl8pPr>
      <a:lvl9pPr marL="3155800" indent="-185635" algn="l" defTabSz="742541" rtl="0" eaLnBrk="1" latinLnBrk="0" hangingPunct="1">
        <a:lnSpc>
          <a:spcPct val="90000"/>
        </a:lnSpc>
        <a:spcBef>
          <a:spcPts val="406"/>
        </a:spcBef>
        <a:buFont typeface="Arial" panose="020B0604020202020204" pitchFamily="34" charset="0"/>
        <a:buChar char="•"/>
        <a:defRPr sz="1462" kern="1200">
          <a:solidFill>
            <a:schemeClr val="tx1"/>
          </a:solidFill>
          <a:latin typeface="+mn-lt"/>
          <a:ea typeface="+mn-ea"/>
          <a:cs typeface="+mn-cs"/>
        </a:defRPr>
      </a:lvl9pPr>
    </p:bodyStyle>
    <p:otherStyle>
      <a:defPPr>
        <a:defRPr lang="pt-PT"/>
      </a:defPPr>
      <a:lvl1pPr marL="0" algn="l" defTabSz="742541" rtl="0" eaLnBrk="1" latinLnBrk="0" hangingPunct="1">
        <a:defRPr sz="1462" kern="1200">
          <a:solidFill>
            <a:schemeClr val="tx1"/>
          </a:solidFill>
          <a:latin typeface="+mn-lt"/>
          <a:ea typeface="+mn-ea"/>
          <a:cs typeface="+mn-cs"/>
        </a:defRPr>
      </a:lvl1pPr>
      <a:lvl2pPr marL="371271" algn="l" defTabSz="742541" rtl="0" eaLnBrk="1" latinLnBrk="0" hangingPunct="1">
        <a:defRPr sz="1462" kern="1200">
          <a:solidFill>
            <a:schemeClr val="tx1"/>
          </a:solidFill>
          <a:latin typeface="+mn-lt"/>
          <a:ea typeface="+mn-ea"/>
          <a:cs typeface="+mn-cs"/>
        </a:defRPr>
      </a:lvl2pPr>
      <a:lvl3pPr marL="742541" algn="l" defTabSz="742541" rtl="0" eaLnBrk="1" latinLnBrk="0" hangingPunct="1">
        <a:defRPr sz="1462" kern="1200">
          <a:solidFill>
            <a:schemeClr val="tx1"/>
          </a:solidFill>
          <a:latin typeface="+mn-lt"/>
          <a:ea typeface="+mn-ea"/>
          <a:cs typeface="+mn-cs"/>
        </a:defRPr>
      </a:lvl3pPr>
      <a:lvl4pPr marL="1113812" algn="l" defTabSz="742541" rtl="0" eaLnBrk="1" latinLnBrk="0" hangingPunct="1">
        <a:defRPr sz="1462" kern="1200">
          <a:solidFill>
            <a:schemeClr val="tx1"/>
          </a:solidFill>
          <a:latin typeface="+mn-lt"/>
          <a:ea typeface="+mn-ea"/>
          <a:cs typeface="+mn-cs"/>
        </a:defRPr>
      </a:lvl4pPr>
      <a:lvl5pPr marL="1485083" algn="l" defTabSz="742541" rtl="0" eaLnBrk="1" latinLnBrk="0" hangingPunct="1">
        <a:defRPr sz="1462" kern="1200">
          <a:solidFill>
            <a:schemeClr val="tx1"/>
          </a:solidFill>
          <a:latin typeface="+mn-lt"/>
          <a:ea typeface="+mn-ea"/>
          <a:cs typeface="+mn-cs"/>
        </a:defRPr>
      </a:lvl5pPr>
      <a:lvl6pPr marL="1856354" algn="l" defTabSz="742541" rtl="0" eaLnBrk="1" latinLnBrk="0" hangingPunct="1">
        <a:defRPr sz="1462" kern="1200">
          <a:solidFill>
            <a:schemeClr val="tx1"/>
          </a:solidFill>
          <a:latin typeface="+mn-lt"/>
          <a:ea typeface="+mn-ea"/>
          <a:cs typeface="+mn-cs"/>
        </a:defRPr>
      </a:lvl6pPr>
      <a:lvl7pPr marL="2227624" algn="l" defTabSz="742541" rtl="0" eaLnBrk="1" latinLnBrk="0" hangingPunct="1">
        <a:defRPr sz="1462" kern="1200">
          <a:solidFill>
            <a:schemeClr val="tx1"/>
          </a:solidFill>
          <a:latin typeface="+mn-lt"/>
          <a:ea typeface="+mn-ea"/>
          <a:cs typeface="+mn-cs"/>
        </a:defRPr>
      </a:lvl7pPr>
      <a:lvl8pPr marL="2598895" algn="l" defTabSz="742541" rtl="0" eaLnBrk="1" latinLnBrk="0" hangingPunct="1">
        <a:defRPr sz="1462" kern="1200">
          <a:solidFill>
            <a:schemeClr val="tx1"/>
          </a:solidFill>
          <a:latin typeface="+mn-lt"/>
          <a:ea typeface="+mn-ea"/>
          <a:cs typeface="+mn-cs"/>
        </a:defRPr>
      </a:lvl8pPr>
      <a:lvl9pPr marL="2970166" algn="l" defTabSz="742541" rtl="0" eaLnBrk="1" latinLnBrk="0" hangingPunct="1">
        <a:defRPr sz="1462"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4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2CD5556-EB4B-40F6-93DF-6FFD6824C37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4CC06D7-1BBC-4B28-85E6-DA3A99F1907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2835B9F-C358-4E18-B2CD-B6E1A2DDFF2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DC1AC40-397F-449F-8E76-697FF1297A82}" type="datetimeFigureOut">
              <a:rPr lang="en-US" smtClean="0"/>
              <a:t>11/7/2022</a:t>
            </a:fld>
            <a:endParaRPr lang="en-US"/>
          </a:p>
        </p:txBody>
      </p:sp>
      <p:sp>
        <p:nvSpPr>
          <p:cNvPr id="5" name="Footer Placeholder 4">
            <a:extLst>
              <a:ext uri="{FF2B5EF4-FFF2-40B4-BE49-F238E27FC236}">
                <a16:creationId xmlns:a16="http://schemas.microsoft.com/office/drawing/2014/main" id="{14F56C57-2F80-4346-8D04-42884122C16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0D34DD4D-14D4-438A-85CB-97F3FE81C57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EFE127A-B36E-4672-AB40-D6C463D3C51B}" type="slidenum">
              <a:rPr lang="en-US" smtClean="0"/>
              <a:t>‹#›</a:t>
            </a:fld>
            <a:endParaRPr lang="en-US"/>
          </a:p>
        </p:txBody>
      </p:sp>
    </p:spTree>
    <p:extLst>
      <p:ext uri="{BB962C8B-B14F-4D97-AF65-F5344CB8AC3E}">
        <p14:creationId xmlns:p14="http://schemas.microsoft.com/office/powerpoint/2010/main" val="794743061"/>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 id="2147483681"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openxmlformats.org/officeDocument/2006/relationships/hyperlink" Target="https://github.com/pnp/powerapps-samples/blob/main/samples/covid-vaccine-survey/assets/1.png" TargetMode="External"/><Relationship Id="rId2" Type="http://schemas.openxmlformats.org/officeDocument/2006/relationships/notesSlide" Target="../notesSlides/notesSlide2.xml"/><Relationship Id="rId1" Type="http://schemas.openxmlformats.org/officeDocument/2006/relationships/slideLayout" Target="../slideLayouts/slideLayout20.xml"/><Relationship Id="rId6" Type="http://schemas.openxmlformats.org/officeDocument/2006/relationships/image" Target="../media/image15.png"/><Relationship Id="rId5" Type="http://schemas.openxmlformats.org/officeDocument/2006/relationships/hyperlink" Target="https://github.com/pnp/powerapps-samples/blob/main/samples/covid-vaccine-survey/assets/2.png" TargetMode="External"/><Relationship Id="rId4" Type="http://schemas.openxmlformats.org/officeDocument/2006/relationships/image" Target="../media/image14.png"/></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2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0" y="2981325"/>
            <a:ext cx="5309231" cy="560103"/>
          </a:xfrm>
        </p:spPr>
        <p:txBody>
          <a:bodyPr/>
          <a:lstStyle/>
          <a:p>
            <a:r>
              <a:rPr lang="en-US" sz="1600" b="1"/>
              <a:t>Power Apps Training</a:t>
            </a:r>
          </a:p>
        </p:txBody>
      </p:sp>
    </p:spTree>
    <p:extLst>
      <p:ext uri="{BB962C8B-B14F-4D97-AF65-F5344CB8AC3E}">
        <p14:creationId xmlns:p14="http://schemas.microsoft.com/office/powerpoint/2010/main" val="31441327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Freeform 100">
            <a:extLst>
              <a:ext uri="{FF2B5EF4-FFF2-40B4-BE49-F238E27FC236}">
                <a16:creationId xmlns:a16="http://schemas.microsoft.com/office/drawing/2014/main" id="{C8A81FE7-4335-439B-B077-939D9B29CCCE}"/>
              </a:ext>
            </a:extLst>
          </p:cNvPr>
          <p:cNvSpPr/>
          <p:nvPr/>
        </p:nvSpPr>
        <p:spPr>
          <a:xfrm rot="5400000" flipH="1">
            <a:off x="3291610" y="-2330954"/>
            <a:ext cx="5674275" cy="11894594"/>
          </a:xfrm>
          <a:custGeom>
            <a:avLst/>
            <a:gdLst>
              <a:gd name="connsiteX0" fmla="*/ 0 w 4221000"/>
              <a:gd name="connsiteY0" fmla="*/ 2203449 h 2870899"/>
              <a:gd name="connsiteX1" fmla="*/ 1189951 w 4221000"/>
              <a:gd name="connsiteY1" fmla="*/ 0 h 2870899"/>
              <a:gd name="connsiteX2" fmla="*/ 3922051 w 4221000"/>
              <a:gd name="connsiteY2" fmla="*/ 0 h 2870899"/>
              <a:gd name="connsiteX3" fmla="*/ 4221000 w 4221000"/>
              <a:gd name="connsiteY3" fmla="*/ 553567 h 2870899"/>
              <a:gd name="connsiteX4" fmla="*/ 4221000 w 4221000"/>
              <a:gd name="connsiteY4" fmla="*/ 2870899 h 2870899"/>
              <a:gd name="connsiteX5" fmla="*/ 360450 w 4221000"/>
              <a:gd name="connsiteY5" fmla="*/ 2870899 h 2870899"/>
              <a:gd name="connsiteX0" fmla="*/ 0 w 4224062"/>
              <a:gd name="connsiteY0" fmla="*/ 2195978 h 2870899"/>
              <a:gd name="connsiteX1" fmla="*/ 1193013 w 4224062"/>
              <a:gd name="connsiteY1" fmla="*/ 0 h 2870899"/>
              <a:gd name="connsiteX2" fmla="*/ 3925113 w 4224062"/>
              <a:gd name="connsiteY2" fmla="*/ 0 h 2870899"/>
              <a:gd name="connsiteX3" fmla="*/ 4224062 w 4224062"/>
              <a:gd name="connsiteY3" fmla="*/ 553567 h 2870899"/>
              <a:gd name="connsiteX4" fmla="*/ 4224062 w 4224062"/>
              <a:gd name="connsiteY4" fmla="*/ 2870899 h 2870899"/>
              <a:gd name="connsiteX5" fmla="*/ 363512 w 4224062"/>
              <a:gd name="connsiteY5" fmla="*/ 2870899 h 2870899"/>
              <a:gd name="connsiteX6" fmla="*/ 0 w 4224062"/>
              <a:gd name="connsiteY6" fmla="*/ 2195978 h 2870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24062" h="2870899">
                <a:moveTo>
                  <a:pt x="0" y="2195978"/>
                </a:moveTo>
                <a:lnTo>
                  <a:pt x="1193013" y="0"/>
                </a:lnTo>
                <a:lnTo>
                  <a:pt x="3925113" y="0"/>
                </a:lnTo>
                <a:lnTo>
                  <a:pt x="4224062" y="553567"/>
                </a:lnTo>
                <a:lnTo>
                  <a:pt x="4224062" y="2870899"/>
                </a:lnTo>
                <a:lnTo>
                  <a:pt x="363512" y="2870899"/>
                </a:lnTo>
                <a:lnTo>
                  <a:pt x="0" y="2195978"/>
                </a:lnTo>
                <a:close/>
              </a:path>
            </a:pathLst>
          </a:custGeom>
          <a:solidFill>
            <a:schemeClr val="accent6">
              <a:lumMod val="60000"/>
              <a:lumOff val="40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13D45980-1699-442D-BE4D-9BFA9E573D6D}"/>
              </a:ext>
            </a:extLst>
          </p:cNvPr>
          <p:cNvSpPr/>
          <p:nvPr/>
        </p:nvSpPr>
        <p:spPr>
          <a:xfrm>
            <a:off x="0" y="6664341"/>
            <a:ext cx="12192000" cy="18713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Verdana"/>
              <a:ea typeface="+mn-ea"/>
              <a:cs typeface="+mn-cs"/>
            </a:endParaRPr>
          </a:p>
        </p:txBody>
      </p:sp>
      <p:sp>
        <p:nvSpPr>
          <p:cNvPr id="3" name="Freeform 19"/>
          <p:cNvSpPr>
            <a:spLocks/>
          </p:cNvSpPr>
          <p:nvPr/>
        </p:nvSpPr>
        <p:spPr bwMode="auto">
          <a:xfrm>
            <a:off x="4953763" y="2682778"/>
            <a:ext cx="70798" cy="860247"/>
          </a:xfrm>
          <a:custGeom>
            <a:avLst/>
            <a:gdLst/>
            <a:ahLst/>
            <a:cxnLst>
              <a:cxn ang="0">
                <a:pos x="0" y="0"/>
              </a:cxn>
              <a:cxn ang="0">
                <a:pos x="0" y="1072"/>
              </a:cxn>
              <a:cxn ang="0">
                <a:pos x="57" y="1072"/>
              </a:cxn>
              <a:cxn ang="0">
                <a:pos x="57" y="0"/>
              </a:cxn>
            </a:cxnLst>
            <a:rect l="0" t="0" r="r" b="b"/>
            <a:pathLst>
              <a:path w="57" h="1072">
                <a:moveTo>
                  <a:pt x="0" y="0"/>
                </a:moveTo>
                <a:lnTo>
                  <a:pt x="0" y="1072"/>
                </a:lnTo>
                <a:lnTo>
                  <a:pt x="57" y="1072"/>
                </a:lnTo>
                <a:lnTo>
                  <a:pt x="57" y="0"/>
                </a:lnTo>
              </a:path>
            </a:pathLst>
          </a:custGeom>
          <a:no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718335"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263147"/>
              </a:solidFill>
              <a:effectLst/>
              <a:uLnTx/>
              <a:uFillTx/>
              <a:latin typeface="Verdana"/>
              <a:ea typeface="+mn-ea"/>
              <a:cs typeface="+mn-cs"/>
            </a:endParaRPr>
          </a:p>
        </p:txBody>
      </p:sp>
      <p:sp>
        <p:nvSpPr>
          <p:cNvPr id="42" name="Title 1">
            <a:extLst>
              <a:ext uri="{FF2B5EF4-FFF2-40B4-BE49-F238E27FC236}">
                <a16:creationId xmlns:a16="http://schemas.microsoft.com/office/drawing/2014/main" id="{EB48F62D-5840-4596-B8C0-96C77CABA720}"/>
              </a:ext>
            </a:extLst>
          </p:cNvPr>
          <p:cNvSpPr>
            <a:spLocks noGrp="1"/>
          </p:cNvSpPr>
          <p:nvPr>
            <p:ph type="title"/>
          </p:nvPr>
        </p:nvSpPr>
        <p:spPr>
          <a:xfrm>
            <a:off x="181450" y="142511"/>
            <a:ext cx="6216538" cy="423343"/>
          </a:xfrm>
        </p:spPr>
        <p:txBody>
          <a:bodyPr>
            <a:noAutofit/>
          </a:bodyPr>
          <a:lstStyle/>
          <a:p>
            <a:r>
              <a:rPr lang="en-US" sz="2400" b="1">
                <a:solidFill>
                  <a:srgbClr val="0070C0"/>
                </a:solidFill>
              </a:rPr>
              <a:t>Assignments</a:t>
            </a:r>
          </a:p>
        </p:txBody>
      </p:sp>
      <p:sp>
        <p:nvSpPr>
          <p:cNvPr id="66" name="TextBox 65">
            <a:extLst>
              <a:ext uri="{FF2B5EF4-FFF2-40B4-BE49-F238E27FC236}">
                <a16:creationId xmlns:a16="http://schemas.microsoft.com/office/drawing/2014/main" id="{CAA6EDE2-1109-4F4D-BF2C-0EEB62A31BB5}"/>
              </a:ext>
            </a:extLst>
          </p:cNvPr>
          <p:cNvSpPr txBox="1"/>
          <p:nvPr/>
        </p:nvSpPr>
        <p:spPr>
          <a:xfrm>
            <a:off x="6284076" y="6181152"/>
            <a:ext cx="2402837" cy="307777"/>
          </a:xfrm>
          <a:prstGeom prst="rect">
            <a:avLst/>
          </a:prstGeom>
          <a:noFill/>
        </p:spPr>
        <p:txBody>
          <a:bodyPr wrap="square" rtlCol="0">
            <a:spAutoFit/>
          </a:bodyPr>
          <a:lstStyle/>
          <a:p>
            <a:r>
              <a:rPr lang="en-US" sz="1400" b="1">
                <a:solidFill>
                  <a:prstClr val="black"/>
                </a:solidFill>
                <a:latin typeface="Verdana"/>
              </a:rPr>
              <a:t>CG Portal:</a:t>
            </a:r>
          </a:p>
        </p:txBody>
      </p:sp>
      <p:sp>
        <p:nvSpPr>
          <p:cNvPr id="67" name="TextBox 66">
            <a:extLst>
              <a:ext uri="{FF2B5EF4-FFF2-40B4-BE49-F238E27FC236}">
                <a16:creationId xmlns:a16="http://schemas.microsoft.com/office/drawing/2014/main" id="{A2086B8A-8A88-4424-93ED-23B158B6F222}"/>
              </a:ext>
            </a:extLst>
          </p:cNvPr>
          <p:cNvSpPr txBox="1"/>
          <p:nvPr/>
        </p:nvSpPr>
        <p:spPr>
          <a:xfrm>
            <a:off x="7319665" y="6143538"/>
            <a:ext cx="3807150" cy="369332"/>
          </a:xfrm>
          <a:prstGeom prst="rect">
            <a:avLst/>
          </a:prstGeom>
          <a:noFill/>
        </p:spPr>
        <p:txBody>
          <a:bodyPr wrap="square">
            <a:spAutoFit/>
          </a:bodyPr>
          <a:lstStyle/>
          <a:p>
            <a:r>
              <a:rPr lang="en-IN" b="1" u="sng">
                <a:solidFill>
                  <a:srgbClr val="0563C1"/>
                </a:solidFill>
                <a:latin typeface="Calibri" panose="020F0502020204030204" pitchFamily="34" charset="0"/>
                <a:ea typeface="Calibri" panose="020F0502020204030204" pitchFamily="34" charset="0"/>
              </a:rPr>
              <a:t>https://degreed.com/plan/1892236</a:t>
            </a:r>
            <a:endParaRPr lang="en-IN" sz="1800" b="1">
              <a:effectLst/>
              <a:latin typeface="Calibri" panose="020F0502020204030204" pitchFamily="34" charset="0"/>
              <a:ea typeface="Calibri" panose="020F0502020204030204" pitchFamily="34" charset="0"/>
            </a:endParaRPr>
          </a:p>
        </p:txBody>
      </p:sp>
      <p:sp>
        <p:nvSpPr>
          <p:cNvPr id="76" name="Freeform 19">
            <a:extLst>
              <a:ext uri="{FF2B5EF4-FFF2-40B4-BE49-F238E27FC236}">
                <a16:creationId xmlns:a16="http://schemas.microsoft.com/office/drawing/2014/main" id="{0ED0822F-F872-4ACB-8EFE-982E75169A3D}"/>
              </a:ext>
            </a:extLst>
          </p:cNvPr>
          <p:cNvSpPr>
            <a:spLocks/>
          </p:cNvSpPr>
          <p:nvPr/>
        </p:nvSpPr>
        <p:spPr bwMode="auto">
          <a:xfrm>
            <a:off x="5010913" y="3978178"/>
            <a:ext cx="70798" cy="860247"/>
          </a:xfrm>
          <a:custGeom>
            <a:avLst/>
            <a:gdLst/>
            <a:ahLst/>
            <a:cxnLst>
              <a:cxn ang="0">
                <a:pos x="0" y="0"/>
              </a:cxn>
              <a:cxn ang="0">
                <a:pos x="0" y="1072"/>
              </a:cxn>
              <a:cxn ang="0">
                <a:pos x="57" y="1072"/>
              </a:cxn>
              <a:cxn ang="0">
                <a:pos x="57" y="0"/>
              </a:cxn>
            </a:cxnLst>
            <a:rect l="0" t="0" r="r" b="b"/>
            <a:pathLst>
              <a:path w="57" h="1072">
                <a:moveTo>
                  <a:pt x="0" y="0"/>
                </a:moveTo>
                <a:lnTo>
                  <a:pt x="0" y="1072"/>
                </a:lnTo>
                <a:lnTo>
                  <a:pt x="57" y="1072"/>
                </a:lnTo>
                <a:lnTo>
                  <a:pt x="57" y="0"/>
                </a:lnTo>
              </a:path>
            </a:pathLst>
          </a:custGeom>
          <a:no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718335"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263147"/>
              </a:solidFill>
              <a:effectLst/>
              <a:uLnTx/>
              <a:uFillTx/>
              <a:latin typeface="Verdana"/>
              <a:ea typeface="+mn-ea"/>
              <a:cs typeface="+mn-cs"/>
            </a:endParaRPr>
          </a:p>
        </p:txBody>
      </p:sp>
      <p:sp>
        <p:nvSpPr>
          <p:cNvPr id="27" name="TextBox 26">
            <a:extLst>
              <a:ext uri="{FF2B5EF4-FFF2-40B4-BE49-F238E27FC236}">
                <a16:creationId xmlns:a16="http://schemas.microsoft.com/office/drawing/2014/main" id="{6876003B-0341-4B8D-B76F-4550511C23C8}"/>
              </a:ext>
            </a:extLst>
          </p:cNvPr>
          <p:cNvSpPr txBox="1"/>
          <p:nvPr/>
        </p:nvSpPr>
        <p:spPr>
          <a:xfrm>
            <a:off x="3226552" y="2975772"/>
            <a:ext cx="5822197" cy="523220"/>
          </a:xfrm>
          <a:prstGeom prst="rect">
            <a:avLst/>
          </a:prstGeom>
          <a:noFill/>
        </p:spPr>
        <p:txBody>
          <a:bodyPr wrap="square">
            <a:spAutoFit/>
          </a:bodyPr>
          <a:lstStyle/>
          <a:p>
            <a:r>
              <a:rPr lang="en-IN" sz="2800"/>
              <a:t>Power Platform Training Assignments</a:t>
            </a:r>
          </a:p>
        </p:txBody>
      </p:sp>
    </p:spTree>
    <p:extLst>
      <p:ext uri="{BB962C8B-B14F-4D97-AF65-F5344CB8AC3E}">
        <p14:creationId xmlns:p14="http://schemas.microsoft.com/office/powerpoint/2010/main" val="10393706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962628C8-C0A5-4B9D-9656-8287E3C42C87}"/>
              </a:ext>
            </a:extLst>
          </p:cNvPr>
          <p:cNvSpPr/>
          <p:nvPr/>
        </p:nvSpPr>
        <p:spPr>
          <a:xfrm>
            <a:off x="5701902" y="0"/>
            <a:ext cx="6490097" cy="6858000"/>
          </a:xfrm>
          <a:prstGeom prst="rect">
            <a:avLst/>
          </a:prstGeom>
          <a:solidFill>
            <a:schemeClr val="bg1"/>
          </a:solidFill>
          <a:ln w="6350">
            <a:solidFill>
              <a:schemeClr val="bg1">
                <a:lumMod val="85000"/>
              </a:schemeClr>
            </a:solidFill>
          </a:ln>
          <a:effectLst/>
          <a:extLst>
            <a:ext uri="{AF507438-7753-43E0-B8FC-AC1667EBCBE1}">
              <a14:hiddenEffects xmlns:a14="http://schemas.microsoft.com/office/drawing/2010/main">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07000"/>
              </a:lnSpc>
              <a:spcBef>
                <a:spcPts val="1800"/>
              </a:spcBef>
              <a:spcAft>
                <a:spcPts val="1200"/>
              </a:spcAft>
            </a:pPr>
            <a:endParaRPr lang="en-IN" sz="18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TextBox 3">
            <a:extLst>
              <a:ext uri="{FF2B5EF4-FFF2-40B4-BE49-F238E27FC236}">
                <a16:creationId xmlns:a16="http://schemas.microsoft.com/office/drawing/2014/main" id="{79348BEE-35C6-914A-99ED-29FD9660A944}"/>
              </a:ext>
            </a:extLst>
          </p:cNvPr>
          <p:cNvSpPr txBox="1"/>
          <p:nvPr/>
        </p:nvSpPr>
        <p:spPr>
          <a:xfrm>
            <a:off x="14655800" y="8001000"/>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8" name="Rectangle 17">
            <a:extLst>
              <a:ext uri="{FF2B5EF4-FFF2-40B4-BE49-F238E27FC236}">
                <a16:creationId xmlns:a16="http://schemas.microsoft.com/office/drawing/2014/main" id="{58803304-4059-4B39-A8FD-BF265478CCD1}"/>
              </a:ext>
            </a:extLst>
          </p:cNvPr>
          <p:cNvSpPr/>
          <p:nvPr/>
        </p:nvSpPr>
        <p:spPr>
          <a:xfrm>
            <a:off x="167862" y="1835261"/>
            <a:ext cx="4580433" cy="4570247"/>
          </a:xfrm>
          <a:prstGeom prst="rect">
            <a:avLst/>
          </a:prstGeom>
          <a:noFill/>
        </p:spPr>
        <p:txBody>
          <a:bodyPr wrap="square" lIns="365760" rIns="2438400" numCol="1" anchor="ctr" anchorCtr="0">
            <a:noAutofit/>
          </a:bodyPr>
          <a:lstStyle/>
          <a:p>
            <a:pPr marL="0" marR="0" lvl="0" indent="0" algn="l" defTabSz="1218774" rtl="0" eaLnBrk="1" fontAlgn="auto" latinLnBrk="0" hangingPunct="1">
              <a:lnSpc>
                <a:spcPct val="100000"/>
              </a:lnSpc>
              <a:spcBef>
                <a:spcPts val="0"/>
              </a:spcBef>
              <a:spcAft>
                <a:spcPts val="0"/>
              </a:spcAft>
              <a:buClrTx/>
              <a:buSzTx/>
              <a:buFontTx/>
              <a:buNone/>
              <a:tabLst/>
              <a:defRPr/>
            </a:pPr>
            <a:endParaRPr kumimoji="0" lang="en-US" sz="1333" b="1" i="0" u="none" strike="noStrike" kern="1200" cap="none" spc="0" normalizeH="0" baseline="0" noProof="0">
              <a:ln>
                <a:noFill/>
              </a:ln>
              <a:solidFill>
                <a:srgbClr val="000000"/>
              </a:solidFill>
              <a:effectLst/>
              <a:uLnTx/>
              <a:uFillTx/>
              <a:latin typeface="Verdana"/>
              <a:ea typeface="+mn-ea"/>
              <a:cs typeface="+mn-cs"/>
            </a:endParaRPr>
          </a:p>
        </p:txBody>
      </p:sp>
      <p:sp>
        <p:nvSpPr>
          <p:cNvPr id="6" name="TextBox 5">
            <a:extLst>
              <a:ext uri="{FF2B5EF4-FFF2-40B4-BE49-F238E27FC236}">
                <a16:creationId xmlns:a16="http://schemas.microsoft.com/office/drawing/2014/main" id="{C7C054F1-0260-4B18-B4F7-2B03906013D2}"/>
              </a:ext>
            </a:extLst>
          </p:cNvPr>
          <p:cNvSpPr txBox="1"/>
          <p:nvPr/>
        </p:nvSpPr>
        <p:spPr>
          <a:xfrm>
            <a:off x="230078" y="1055643"/>
            <a:ext cx="5286148" cy="5688737"/>
          </a:xfrm>
          <a:prstGeom prst="rect">
            <a:avLst/>
          </a:prstGeom>
          <a:noFill/>
        </p:spPr>
        <p:txBody>
          <a:bodyPr wrap="square" lIns="0" rtlCol="0">
            <a:spAutoFit/>
          </a:bodyPr>
          <a:lstStyle/>
          <a:p>
            <a:pPr marL="0" marR="0" lvl="0" indent="0" algn="l" defTabSz="1218774" rtl="0" eaLnBrk="1" fontAlgn="auto" latinLnBrk="0" hangingPunct="1">
              <a:lnSpc>
                <a:spcPct val="100000"/>
              </a:lnSpc>
              <a:spcBef>
                <a:spcPts val="0"/>
              </a:spcBef>
              <a:spcAft>
                <a:spcPts val="0"/>
              </a:spcAft>
              <a:buClr>
                <a:prstClr val="white"/>
              </a:buClr>
              <a:buSzTx/>
              <a:buFontTx/>
              <a:buNone/>
              <a:tabLst/>
              <a:defRPr/>
            </a:pPr>
            <a:r>
              <a:rPr kumimoji="0" lang="en-US" sz="1100" b="1"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mn-cs"/>
              </a:rPr>
              <a:t>Challenge</a:t>
            </a:r>
          </a:p>
          <a:p>
            <a:pPr marL="171450" indent="-171450" defTabSz="1218774">
              <a:spcBef>
                <a:spcPts val="80"/>
              </a:spcBef>
              <a:buClr>
                <a:srgbClr val="0070AD"/>
              </a:buClr>
              <a:buFont typeface="Wingdings" panose="05000000000000000000" pitchFamily="2" charset="2"/>
              <a:buChar char="§"/>
              <a:defRPr/>
            </a:pPr>
            <a:r>
              <a:rPr lang="en-US" sz="1100">
                <a:solidFill>
                  <a:srgbClr val="000000"/>
                </a:solidFill>
                <a:latin typeface="Verdana" panose="020B0604030504040204" pitchFamily="34" charset="0"/>
                <a:ea typeface="Verdana" panose="020B0604030504040204" pitchFamily="34" charset="0"/>
              </a:rPr>
              <a:t>As with current situation on Covid, it is important to get ourselves vaccinated. All the countries governments are running vaccination drive.</a:t>
            </a:r>
            <a:endParaRPr lang="en-IN" sz="1100">
              <a:solidFill>
                <a:srgbClr val="000000"/>
              </a:solidFill>
              <a:latin typeface="Verdana" panose="020B0604030504040204" pitchFamily="34" charset="0"/>
              <a:ea typeface="Verdana" panose="020B0604030504040204" pitchFamily="34" charset="0"/>
            </a:endParaRPr>
          </a:p>
          <a:p>
            <a:pPr marL="171450" indent="-171450" defTabSz="1218774">
              <a:spcBef>
                <a:spcPts val="80"/>
              </a:spcBef>
              <a:buClr>
                <a:srgbClr val="0070AD"/>
              </a:buClr>
              <a:buFont typeface="Wingdings" panose="05000000000000000000" pitchFamily="2" charset="2"/>
              <a:buChar char="§"/>
              <a:defRPr/>
            </a:pPr>
            <a:r>
              <a:rPr lang="en-US" sz="1100">
                <a:solidFill>
                  <a:srgbClr val="000000"/>
                </a:solidFill>
                <a:latin typeface="Verdana" panose="020B0604030504040204" pitchFamily="34" charset="0"/>
                <a:ea typeface="Verdana" panose="020B0604030504040204" pitchFamily="34" charset="0"/>
              </a:rPr>
              <a:t>It became important for companies to conduct a survey among employees about their vaccination status.</a:t>
            </a:r>
            <a:endParaRPr lang="en-IN" sz="1100">
              <a:solidFill>
                <a:srgbClr val="000000"/>
              </a:solidFill>
              <a:latin typeface="Verdana" panose="020B0604030504040204" pitchFamily="34" charset="0"/>
              <a:ea typeface="Verdana" panose="020B0604030504040204" pitchFamily="34" charset="0"/>
            </a:endParaRPr>
          </a:p>
          <a:p>
            <a:pPr marL="171450" marR="0" lvl="0" indent="-171450" algn="l" defTabSz="1218774" rtl="0" eaLnBrk="1" fontAlgn="auto" latinLnBrk="0" hangingPunct="1">
              <a:lnSpc>
                <a:spcPct val="100000"/>
              </a:lnSpc>
              <a:spcBef>
                <a:spcPts val="80"/>
              </a:spcBef>
              <a:spcAft>
                <a:spcPts val="0"/>
              </a:spcAft>
              <a:buClr>
                <a:srgbClr val="0070AD"/>
              </a:buClr>
              <a:buSzTx/>
              <a:buFont typeface="Wingdings" panose="05000000000000000000" pitchFamily="2" charset="2"/>
              <a:buChar char="§"/>
              <a:tabLst/>
              <a:defRPr/>
            </a:pPr>
            <a:r>
              <a:rPr lang="en-US" sz="1100">
                <a:solidFill>
                  <a:srgbClr val="000000"/>
                </a:solidFill>
                <a:latin typeface="Verdana" panose="020B0604030504040204" pitchFamily="34" charset="0"/>
                <a:ea typeface="Verdana" panose="020B0604030504040204" pitchFamily="34" charset="0"/>
              </a:rPr>
              <a:t>One to One survey is very complex way to record the vaccination data for every employee.</a:t>
            </a:r>
          </a:p>
          <a:p>
            <a:pPr marL="171450" marR="0" lvl="0" indent="-171450" algn="l" defTabSz="1218774" rtl="0" eaLnBrk="1" fontAlgn="auto" latinLnBrk="0" hangingPunct="1">
              <a:lnSpc>
                <a:spcPct val="100000"/>
              </a:lnSpc>
              <a:spcBef>
                <a:spcPts val="80"/>
              </a:spcBef>
              <a:spcAft>
                <a:spcPts val="0"/>
              </a:spcAft>
              <a:buClr>
                <a:srgbClr val="0070AD"/>
              </a:buClr>
              <a:buSzTx/>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mn-cs"/>
              </a:rPr>
              <a:t>So, to accomplish the online process of Survey templates can be implemented on Power Platform.</a:t>
            </a:r>
          </a:p>
          <a:p>
            <a:pPr marL="0" marR="0" lvl="0" indent="0" algn="l" defTabSz="1218774" rtl="0" eaLnBrk="1" fontAlgn="auto" latinLnBrk="0" hangingPunct="1">
              <a:lnSpc>
                <a:spcPct val="100000"/>
              </a:lnSpc>
              <a:spcBef>
                <a:spcPts val="0"/>
              </a:spcBef>
              <a:spcAft>
                <a:spcPts val="0"/>
              </a:spcAft>
              <a:buClr>
                <a:prstClr val="white"/>
              </a:buClr>
              <a:buSzTx/>
              <a:buFontTx/>
              <a:buNone/>
              <a:tabLst/>
              <a:defRPr/>
            </a:pPr>
            <a:endParaRPr kumimoji="0" lang="en-US" sz="1100" b="0"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mn-cs"/>
            </a:endParaRPr>
          </a:p>
          <a:p>
            <a:pPr marL="0" marR="0" lvl="0" indent="0" algn="l" defTabSz="1218774" rtl="0" eaLnBrk="1" fontAlgn="auto" latinLnBrk="0" hangingPunct="1">
              <a:lnSpc>
                <a:spcPct val="100000"/>
              </a:lnSpc>
              <a:spcBef>
                <a:spcPts val="0"/>
              </a:spcBef>
              <a:spcAft>
                <a:spcPts val="0"/>
              </a:spcAft>
              <a:buClr>
                <a:prstClr val="white"/>
              </a:buClr>
              <a:buSzTx/>
              <a:buFontTx/>
              <a:buNone/>
              <a:tabLst/>
              <a:defRPr/>
            </a:pPr>
            <a:r>
              <a:rPr kumimoji="0" lang="en-US" sz="1100" b="1"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mn-cs"/>
              </a:rPr>
              <a:t>Solution</a:t>
            </a:r>
          </a:p>
          <a:p>
            <a:pPr marL="171450" indent="-171450" defTabSz="1218774">
              <a:spcBef>
                <a:spcPts val="80"/>
              </a:spcBef>
              <a:buClr>
                <a:srgbClr val="0070AD"/>
              </a:buClr>
              <a:buFont typeface="Wingdings" panose="05000000000000000000" pitchFamily="2" charset="2"/>
              <a:buChar char="§"/>
              <a:defRPr/>
            </a:pPr>
            <a:r>
              <a:rPr lang="en-US" sz="1100">
                <a:solidFill>
                  <a:srgbClr val="000000"/>
                </a:solidFill>
                <a:latin typeface="Verdana" panose="020B0604030504040204" pitchFamily="34" charset="0"/>
                <a:ea typeface="Verdana" panose="020B0604030504040204" pitchFamily="34" charset="0"/>
              </a:rPr>
              <a:t>This PowerApps and Data verse based application can be used to get the vaccination status of all the employees in organization.</a:t>
            </a:r>
            <a:endParaRPr lang="en-IN" sz="1100">
              <a:solidFill>
                <a:srgbClr val="000000"/>
              </a:solidFill>
              <a:latin typeface="Verdana" panose="020B0604030504040204" pitchFamily="34" charset="0"/>
              <a:ea typeface="Verdana" panose="020B0604030504040204" pitchFamily="34" charset="0"/>
            </a:endParaRPr>
          </a:p>
          <a:p>
            <a:pPr marL="171450" indent="-171450" defTabSz="1218774">
              <a:spcBef>
                <a:spcPts val="80"/>
              </a:spcBef>
              <a:buClr>
                <a:srgbClr val="0070AD"/>
              </a:buClr>
              <a:buFont typeface="Wingdings" panose="05000000000000000000" pitchFamily="2" charset="2"/>
              <a:buChar char="§"/>
              <a:defRPr/>
            </a:pPr>
            <a:r>
              <a:rPr lang="en-US" sz="1100">
                <a:solidFill>
                  <a:srgbClr val="000000"/>
                </a:solidFill>
                <a:latin typeface="Verdana" panose="020B0604030504040204" pitchFamily="34" charset="0"/>
                <a:ea typeface="Verdana" panose="020B0604030504040204" pitchFamily="34" charset="0"/>
              </a:rPr>
              <a:t>Using the app, employee of the organization can provide information about their current vaccination status like if they have been vaccinated, have they taken both doses and which vaccine drive.</a:t>
            </a:r>
            <a:endParaRPr lang="en-IN" sz="1100">
              <a:solidFill>
                <a:srgbClr val="000000"/>
              </a:solidFill>
              <a:latin typeface="Verdana" panose="020B0604030504040204" pitchFamily="34" charset="0"/>
              <a:ea typeface="Verdana" panose="020B0604030504040204" pitchFamily="34" charset="0"/>
            </a:endParaRPr>
          </a:p>
          <a:p>
            <a:pPr marL="171450" indent="-171450" defTabSz="1218774">
              <a:spcBef>
                <a:spcPts val="80"/>
              </a:spcBef>
              <a:buClr>
                <a:srgbClr val="0070AD"/>
              </a:buClr>
              <a:buFont typeface="Wingdings" panose="05000000000000000000" pitchFamily="2" charset="2"/>
              <a:buChar char="§"/>
              <a:defRPr/>
            </a:pPr>
            <a:r>
              <a:rPr lang="en-US" sz="1100">
                <a:solidFill>
                  <a:srgbClr val="000000"/>
                </a:solidFill>
                <a:latin typeface="Verdana" panose="020B0604030504040204" pitchFamily="34" charset="0"/>
                <a:ea typeface="Verdana" panose="020B0604030504040204" pitchFamily="34" charset="0"/>
              </a:rPr>
              <a:t>This survey data will give organization to how many employees have been vaccinated and other information related to vaccination.</a:t>
            </a:r>
            <a:endParaRPr lang="en-IN" sz="1100">
              <a:solidFill>
                <a:srgbClr val="000000"/>
              </a:solidFill>
              <a:latin typeface="Verdana" panose="020B0604030504040204" pitchFamily="34" charset="0"/>
              <a:ea typeface="Verdana" panose="020B0604030504040204" pitchFamily="34" charset="0"/>
            </a:endParaRPr>
          </a:p>
          <a:p>
            <a:pPr marL="171450" indent="-171450" defTabSz="1218774">
              <a:spcBef>
                <a:spcPts val="80"/>
              </a:spcBef>
              <a:buClr>
                <a:srgbClr val="0070AD"/>
              </a:buClr>
              <a:buFont typeface="Wingdings" panose="05000000000000000000" pitchFamily="2" charset="2"/>
              <a:buChar char="§"/>
              <a:defRPr/>
            </a:pPr>
            <a:r>
              <a:rPr lang="en-US" sz="1100">
                <a:solidFill>
                  <a:srgbClr val="000000"/>
                </a:solidFill>
                <a:latin typeface="Verdana" panose="020B0604030504040204" pitchFamily="34" charset="0"/>
                <a:ea typeface="Verdana" panose="020B0604030504040204" pitchFamily="34" charset="0"/>
              </a:rPr>
              <a:t>Employee (normal user) can come to this app and update the data anytime until they fill out their information till dose 2.</a:t>
            </a:r>
            <a:endParaRPr lang="en-IN" sz="1100">
              <a:solidFill>
                <a:srgbClr val="000000"/>
              </a:solidFill>
              <a:latin typeface="Verdana" panose="020B0604030504040204" pitchFamily="34" charset="0"/>
              <a:ea typeface="Verdana" panose="020B0604030504040204" pitchFamily="34" charset="0"/>
            </a:endParaRPr>
          </a:p>
          <a:p>
            <a:pPr marL="171450" indent="-171450" defTabSz="1218774">
              <a:spcBef>
                <a:spcPts val="80"/>
              </a:spcBef>
              <a:buClr>
                <a:srgbClr val="0070AD"/>
              </a:buClr>
              <a:buFont typeface="Wingdings" panose="05000000000000000000" pitchFamily="2" charset="2"/>
              <a:buChar char="§"/>
              <a:defRPr/>
            </a:pPr>
            <a:r>
              <a:rPr lang="en-US" sz="1100">
                <a:solidFill>
                  <a:srgbClr val="000000"/>
                </a:solidFill>
                <a:latin typeface="Verdana" panose="020B0604030504040204" pitchFamily="34" charset="0"/>
                <a:ea typeface="Verdana" panose="020B0604030504040204" pitchFamily="34" charset="0"/>
              </a:rPr>
              <a:t>HR/Admins(configurable) can view dashboard to see different charts based on total survey filled by employees, total vaccinated, employees taken first dose or second and which vaccine brand.</a:t>
            </a:r>
          </a:p>
          <a:p>
            <a:pPr marL="171450" indent="-171450" defTabSz="1218774">
              <a:spcBef>
                <a:spcPts val="80"/>
              </a:spcBef>
              <a:buClr>
                <a:srgbClr val="0070AD"/>
              </a:buClr>
              <a:buFont typeface="Wingdings" panose="05000000000000000000" pitchFamily="2" charset="2"/>
              <a:buChar char="§"/>
              <a:defRPr/>
            </a:pPr>
            <a:r>
              <a:rPr lang="en-US" sz="1100">
                <a:solidFill>
                  <a:srgbClr val="000000"/>
                </a:solidFill>
                <a:latin typeface="Verdana" panose="020B0604030504040204" pitchFamily="34" charset="0"/>
                <a:ea typeface="Verdana" panose="020B0604030504040204" pitchFamily="34" charset="0"/>
              </a:rPr>
              <a:t>Power Automate to send the Email Notification to respective supervisor about the survey submission.</a:t>
            </a:r>
          </a:p>
          <a:p>
            <a:pPr marL="171450" indent="-171450" defTabSz="1218774">
              <a:spcBef>
                <a:spcPts val="80"/>
              </a:spcBef>
              <a:buClr>
                <a:srgbClr val="0070AD"/>
              </a:buClr>
              <a:buFont typeface="Wingdings" panose="05000000000000000000" pitchFamily="2" charset="2"/>
              <a:buChar char="§"/>
              <a:defRPr/>
            </a:pPr>
            <a:endParaRPr lang="en-US" sz="1100">
              <a:solidFill>
                <a:srgbClr val="000000"/>
              </a:solidFill>
              <a:latin typeface="Verdana" panose="020B0604030504040204" pitchFamily="34" charset="0"/>
              <a:ea typeface="Verdana" panose="020B0604030504040204" pitchFamily="34" charset="0"/>
            </a:endParaRPr>
          </a:p>
          <a:p>
            <a:pPr marL="0" marR="0" lvl="0" indent="0" algn="l" defTabSz="1218774" rtl="0" eaLnBrk="1" fontAlgn="auto" latinLnBrk="0" hangingPunct="1">
              <a:lnSpc>
                <a:spcPct val="100000"/>
              </a:lnSpc>
              <a:spcBef>
                <a:spcPts val="0"/>
              </a:spcBef>
              <a:spcAft>
                <a:spcPts val="0"/>
              </a:spcAft>
              <a:buClr>
                <a:prstClr val="white"/>
              </a:buClr>
              <a:buSzTx/>
              <a:buFontTx/>
              <a:buNone/>
              <a:tabLst/>
              <a:defRPr/>
            </a:pPr>
            <a:r>
              <a:rPr lang="en-US" sz="1100" b="1">
                <a:solidFill>
                  <a:srgbClr val="000000"/>
                </a:solidFill>
                <a:latin typeface="Verdana" panose="020B0604030504040204" pitchFamily="34" charset="0"/>
                <a:ea typeface="Verdana" panose="020B0604030504040204" pitchFamily="34" charset="0"/>
              </a:rPr>
              <a:t>Data Source</a:t>
            </a:r>
            <a:endParaRPr kumimoji="0" lang="en-US" sz="1100" b="1"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mn-cs"/>
            </a:endParaRPr>
          </a:p>
          <a:p>
            <a:pPr marL="171450" indent="-171450" defTabSz="1218774">
              <a:spcBef>
                <a:spcPts val="80"/>
              </a:spcBef>
              <a:buClr>
                <a:srgbClr val="0070AD"/>
              </a:buClr>
              <a:buFont typeface="Wingdings" panose="05000000000000000000" pitchFamily="2" charset="2"/>
              <a:buChar char="§"/>
              <a:defRPr/>
            </a:pPr>
            <a:r>
              <a:rPr lang="en-US" sz="1100">
                <a:solidFill>
                  <a:srgbClr val="000000"/>
                </a:solidFill>
                <a:latin typeface="Verdana" panose="020B0604030504040204" pitchFamily="34" charset="0"/>
                <a:ea typeface="Verdana" panose="020B0604030504040204" pitchFamily="34" charset="0"/>
              </a:rPr>
              <a:t>Data verse</a:t>
            </a:r>
            <a:endParaRPr lang="en-IN" sz="1100">
              <a:solidFill>
                <a:srgbClr val="000000"/>
              </a:solidFill>
              <a:latin typeface="Verdana" panose="020B0604030504040204" pitchFamily="34" charset="0"/>
              <a:ea typeface="Verdana" panose="020B0604030504040204" pitchFamily="34" charset="0"/>
            </a:endParaRPr>
          </a:p>
          <a:p>
            <a:pPr defTabSz="1218774">
              <a:spcBef>
                <a:spcPts val="80"/>
              </a:spcBef>
              <a:buClr>
                <a:srgbClr val="0070AD"/>
              </a:buClr>
              <a:defRPr/>
            </a:pPr>
            <a:endParaRPr lang="en-IN" sz="1100">
              <a:solidFill>
                <a:srgbClr val="000000"/>
              </a:solidFill>
              <a:latin typeface="Verdana" panose="020B0604030504040204" pitchFamily="34" charset="0"/>
              <a:ea typeface="Verdana" panose="020B0604030504040204" pitchFamily="34" charset="0"/>
            </a:endParaRPr>
          </a:p>
          <a:p>
            <a:pPr marR="0" lvl="0" algn="l" defTabSz="1218774" rtl="0" eaLnBrk="1" fontAlgn="auto" latinLnBrk="0" hangingPunct="1">
              <a:lnSpc>
                <a:spcPct val="100000"/>
              </a:lnSpc>
              <a:spcBef>
                <a:spcPts val="80"/>
              </a:spcBef>
              <a:spcAft>
                <a:spcPts val="0"/>
              </a:spcAft>
              <a:buClr>
                <a:srgbClr val="0070AD"/>
              </a:buClr>
              <a:buSzTx/>
              <a:tabLst/>
              <a:defRPr/>
            </a:pPr>
            <a:endParaRPr kumimoji="0" lang="en-US" sz="1100" b="0"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mn-cs"/>
            </a:endParaRPr>
          </a:p>
        </p:txBody>
      </p:sp>
      <p:sp>
        <p:nvSpPr>
          <p:cNvPr id="21" name="TextBox 20">
            <a:extLst>
              <a:ext uri="{FF2B5EF4-FFF2-40B4-BE49-F238E27FC236}">
                <a16:creationId xmlns:a16="http://schemas.microsoft.com/office/drawing/2014/main" id="{B3AA87E3-CBDC-4B14-B7B3-8120F1D55DD6}"/>
              </a:ext>
            </a:extLst>
          </p:cNvPr>
          <p:cNvSpPr txBox="1"/>
          <p:nvPr/>
        </p:nvSpPr>
        <p:spPr>
          <a:xfrm>
            <a:off x="227575" y="516841"/>
            <a:ext cx="5300530" cy="438582"/>
          </a:xfrm>
          <a:prstGeom prst="rect">
            <a:avLst/>
          </a:prstGeom>
          <a:noFill/>
        </p:spPr>
        <p:txBody>
          <a:bodyPr wrap="square" lIns="0" rtlCol="0">
            <a:spAutoFit/>
          </a:bodyPr>
          <a:lstStyle>
            <a:defPPr>
              <a:defRPr lang="en-US"/>
            </a:defPPr>
            <a:lvl1pPr algn="just" defTabSz="1218774">
              <a:defRPr sz="1200" b="1">
                <a:latin typeface="Verdana" panose="020B0604030504040204" pitchFamily="34" charset="0"/>
                <a:ea typeface="Verdana" panose="020B0604030504040204" pitchFamily="34" charset="0"/>
              </a:defRPr>
            </a:lvl1pPr>
          </a:lstStyle>
          <a:p>
            <a:pPr>
              <a:lnSpc>
                <a:spcPct val="107000"/>
              </a:lnSpc>
              <a:spcBef>
                <a:spcPts val="200"/>
              </a:spcBef>
            </a:pPr>
            <a:r>
              <a:rPr lang="en-US" sz="1100">
                <a:solidFill>
                  <a:srgbClr val="000000"/>
                </a:solidFill>
              </a:rPr>
              <a:t>Summary</a:t>
            </a:r>
            <a:r>
              <a:rPr kumimoji="0" lang="en-US" sz="1100"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mn-cs"/>
              </a:rPr>
              <a:t>: </a:t>
            </a:r>
            <a:r>
              <a:rPr lang="en-US" sz="1100" b="0">
                <a:solidFill>
                  <a:srgbClr val="000000"/>
                </a:solidFill>
              </a:rPr>
              <a:t>PowerApps and Data verse based solution for companies to collect surveys (data) on the vaccination status of their employees.</a:t>
            </a:r>
            <a:endParaRPr lang="en-IN" sz="1100" b="0">
              <a:solidFill>
                <a:srgbClr val="000000"/>
              </a:solidFill>
            </a:endParaRPr>
          </a:p>
        </p:txBody>
      </p:sp>
      <p:sp>
        <p:nvSpPr>
          <p:cNvPr id="3" name="Title 2"/>
          <p:cNvSpPr>
            <a:spLocks noGrp="1"/>
          </p:cNvSpPr>
          <p:nvPr>
            <p:ph type="title"/>
          </p:nvPr>
        </p:nvSpPr>
        <p:spPr>
          <a:xfrm>
            <a:off x="-2676" y="52343"/>
            <a:ext cx="5518902" cy="438582"/>
          </a:xfrm>
        </p:spPr>
        <p:txBody>
          <a:bodyPr>
            <a:normAutofit fontScale="90000"/>
          </a:bodyPr>
          <a:lstStyle/>
          <a:p>
            <a:r>
              <a:rPr lang="en-US">
                <a:latin typeface="+mn-lt"/>
              </a:rPr>
              <a:t>Covid </a:t>
            </a:r>
            <a:r>
              <a:rPr lang="en-US" sz="2700">
                <a:latin typeface="+mn-lt"/>
              </a:rPr>
              <a:t>Vaccination</a:t>
            </a:r>
            <a:r>
              <a:rPr lang="en-US">
                <a:latin typeface="+mn-lt"/>
              </a:rPr>
              <a:t> Survey App</a:t>
            </a:r>
            <a:br>
              <a:rPr lang="en-IN" sz="1800" b="1" kern="0">
                <a:solidFill>
                  <a:srgbClr val="2F5496"/>
                </a:solidFill>
                <a:effectLst/>
                <a:latin typeface="Calibri Light" panose="020F0302020204030204" pitchFamily="34" charset="0"/>
                <a:ea typeface="Times New Roman" panose="02020603050405020304" pitchFamily="18" charset="0"/>
                <a:cs typeface="Times New Roman" panose="02020603050405020304" pitchFamily="18" charset="0"/>
              </a:rPr>
            </a:br>
            <a:r>
              <a:rPr lang="en-IN" sz="1800" b="1" kern="0">
                <a:solidFill>
                  <a:srgbClr val="2F5496"/>
                </a:solidFill>
                <a:effectLst/>
                <a:latin typeface="Calibri Light" panose="020F0302020204030204" pitchFamily="34" charset="0"/>
                <a:ea typeface="Times New Roman" panose="02020603050405020304" pitchFamily="18" charset="0"/>
                <a:cs typeface="Times New Roman" panose="02020603050405020304" pitchFamily="18" charset="0"/>
              </a:rPr>
              <a:t> </a:t>
            </a:r>
            <a:endParaRPr lang="en-US">
              <a:solidFill>
                <a:schemeClr val="tx1"/>
              </a:solidFill>
              <a:latin typeface="+mn-lt"/>
            </a:endParaRPr>
          </a:p>
        </p:txBody>
      </p:sp>
      <p:sp>
        <p:nvSpPr>
          <p:cNvPr id="37" name="Line 7">
            <a:extLst>
              <a:ext uri="{FF2B5EF4-FFF2-40B4-BE49-F238E27FC236}">
                <a16:creationId xmlns:a16="http://schemas.microsoft.com/office/drawing/2014/main" id="{879EF856-5619-47F5-9D62-45DC06CF88AB}"/>
              </a:ext>
            </a:extLst>
          </p:cNvPr>
          <p:cNvSpPr>
            <a:spLocks noChangeShapeType="1"/>
          </p:cNvSpPr>
          <p:nvPr/>
        </p:nvSpPr>
        <p:spPr bwMode="gray">
          <a:xfrm>
            <a:off x="11588751" y="6450412"/>
            <a:ext cx="0" cy="319616"/>
          </a:xfrm>
          <a:prstGeom prst="line">
            <a:avLst/>
          </a:prstGeom>
          <a:noFill/>
          <a:ln w="9525">
            <a:solidFill>
              <a:srgbClr val="969696"/>
            </a:solidFill>
            <a:round/>
            <a:headEnd/>
            <a:tailEnd/>
          </a:ln>
          <a:effectLst/>
        </p:spPr>
        <p:txBody>
          <a:bodyPr wrap="none" anchor="ctr"/>
          <a:lstStyle/>
          <a:p>
            <a:pPr marL="0" marR="0" lvl="0" indent="0" algn="l" defTabSz="1088239"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srgbClr val="0070AD"/>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8" name="Text Box 8">
            <a:extLst>
              <a:ext uri="{FF2B5EF4-FFF2-40B4-BE49-F238E27FC236}">
                <a16:creationId xmlns:a16="http://schemas.microsoft.com/office/drawing/2014/main" id="{8F2775FB-E41D-4C41-AB7B-8FA926273B7A}"/>
              </a:ext>
            </a:extLst>
          </p:cNvPr>
          <p:cNvSpPr txBox="1">
            <a:spLocks noChangeArrowheads="1"/>
          </p:cNvSpPr>
          <p:nvPr/>
        </p:nvSpPr>
        <p:spPr bwMode="gray">
          <a:xfrm>
            <a:off x="11588753" y="6448295"/>
            <a:ext cx="603249" cy="323851"/>
          </a:xfrm>
          <a:prstGeom prst="rect">
            <a:avLst/>
          </a:prstGeom>
          <a:noFill/>
          <a:ln w="12700" algn="ctr">
            <a:noFill/>
            <a:miter lim="800000"/>
            <a:headEnd/>
            <a:tailEnd type="none" w="lg" len="lg"/>
          </a:ln>
          <a:effectLst/>
        </p:spPr>
        <p:txBody>
          <a:bodyPr anchor="ctr" anchorCtr="1"/>
          <a:lstStyle/>
          <a:p>
            <a:pPr marL="0" marR="0" lvl="0" indent="0" algn="l" defTabSz="1088239" rtl="0" eaLnBrk="0" fontAlgn="auto" latinLnBrk="0" hangingPunct="0">
              <a:lnSpc>
                <a:spcPct val="85000"/>
              </a:lnSpc>
              <a:spcBef>
                <a:spcPts val="0"/>
              </a:spcBef>
              <a:spcAft>
                <a:spcPts val="0"/>
              </a:spcAft>
              <a:buClrTx/>
              <a:buSzTx/>
              <a:buFontTx/>
              <a:buNone/>
              <a:tabLst/>
              <a:defRPr/>
            </a:pPr>
            <a:fld id="{D8875A08-D8CE-4767-B6E0-EF624296B065}" type="slidenum">
              <a:rPr kumimoji="0" lang="en-US" sz="933" b="0" i="0" u="none" strike="noStrike" kern="1200" cap="none" spc="0" normalizeH="0" baseline="0" noProof="0">
                <a:ln>
                  <a:noFill/>
                </a:ln>
                <a:solidFill>
                  <a:srgbClr val="969696"/>
                </a:solidFill>
                <a:effectLst/>
                <a:uLnTx/>
                <a:uFillTx/>
                <a:latin typeface="Verdana" panose="020B0604030504040204" pitchFamily="34" charset="0"/>
                <a:ea typeface="Verdana" panose="020B0604030504040204" pitchFamily="34" charset="0"/>
                <a:cs typeface="Verdana" panose="020B0604030504040204" pitchFamily="34" charset="0"/>
              </a:rPr>
              <a:pPr marL="0" marR="0" lvl="0" indent="0" algn="l" defTabSz="1088239" rtl="0" eaLnBrk="0" fontAlgn="auto" latinLnBrk="0" hangingPunct="0">
                <a:lnSpc>
                  <a:spcPct val="85000"/>
                </a:lnSpc>
                <a:spcBef>
                  <a:spcPts val="0"/>
                </a:spcBef>
                <a:spcAft>
                  <a:spcPts val="0"/>
                </a:spcAft>
                <a:buClrTx/>
                <a:buSzTx/>
                <a:buFontTx/>
                <a:buNone/>
                <a:tabLst/>
                <a:defRPr/>
              </a:pPr>
              <a:t>3</a:t>
            </a:fld>
            <a:endParaRPr kumimoji="0" lang="en-US" sz="933" b="0" i="0" u="none" strike="noStrike" kern="1200" cap="none" spc="0" normalizeH="0" baseline="0" noProof="0">
              <a:ln>
                <a:noFill/>
              </a:ln>
              <a:solidFill>
                <a:srgbClr val="969696"/>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pic>
        <p:nvPicPr>
          <p:cNvPr id="39" name="Picture 38" descr="User Survey Form(for employees)">
            <a:hlinkClick r:id="rId3" tgtFrame="&quot;_blank&quot;"/>
            <a:extLst>
              <a:ext uri="{FF2B5EF4-FFF2-40B4-BE49-F238E27FC236}">
                <a16:creationId xmlns:a16="http://schemas.microsoft.com/office/drawing/2014/main" id="{5AB5C51B-C856-4C12-BB75-AC17E93180FA}"/>
              </a:ext>
            </a:extLst>
          </p:cNvPr>
          <p:cNvPicPr/>
          <p:nvPr/>
        </p:nvPicPr>
        <p:blipFill>
          <a:blip r:embed="rId4">
            <a:extLst>
              <a:ext uri="{28A0092B-C50C-407E-A947-70E740481C1C}">
                <a14:useLocalDpi xmlns:a14="http://schemas.microsoft.com/office/drawing/2010/main" val="0"/>
              </a:ext>
            </a:extLst>
          </a:blip>
          <a:srcRect/>
          <a:stretch>
            <a:fillRect/>
          </a:stretch>
        </p:blipFill>
        <p:spPr bwMode="auto">
          <a:xfrm>
            <a:off x="5864948" y="300233"/>
            <a:ext cx="5555528" cy="3076575"/>
          </a:xfrm>
          <a:prstGeom prst="rect">
            <a:avLst/>
          </a:prstGeom>
          <a:noFill/>
          <a:ln>
            <a:noFill/>
          </a:ln>
        </p:spPr>
      </p:pic>
      <p:pic>
        <p:nvPicPr>
          <p:cNvPr id="40" name="Picture 39" descr="Dashboard for Admin/HR Users(configurable in list who can see this)">
            <a:hlinkClick r:id="rId5" tgtFrame="&quot;_blank&quot;"/>
            <a:extLst>
              <a:ext uri="{FF2B5EF4-FFF2-40B4-BE49-F238E27FC236}">
                <a16:creationId xmlns:a16="http://schemas.microsoft.com/office/drawing/2014/main" id="{2BE18297-BBE6-477B-B03C-39D230A6760A}"/>
              </a:ext>
            </a:extLst>
          </p:cNvPr>
          <p:cNvPicPr/>
          <p:nvPr/>
        </p:nvPicPr>
        <p:blipFill>
          <a:blip r:embed="rId6">
            <a:extLst>
              <a:ext uri="{28A0092B-C50C-407E-A947-70E740481C1C}">
                <a14:useLocalDpi xmlns:a14="http://schemas.microsoft.com/office/drawing/2010/main" val="0"/>
              </a:ext>
            </a:extLst>
          </a:blip>
          <a:srcRect/>
          <a:stretch>
            <a:fillRect/>
          </a:stretch>
        </p:blipFill>
        <p:spPr bwMode="auto">
          <a:xfrm>
            <a:off x="5864947" y="3705225"/>
            <a:ext cx="5538127" cy="3076575"/>
          </a:xfrm>
          <a:prstGeom prst="rect">
            <a:avLst/>
          </a:prstGeom>
          <a:noFill/>
          <a:ln>
            <a:noFill/>
          </a:ln>
        </p:spPr>
      </p:pic>
    </p:spTree>
    <p:extLst>
      <p:ext uri="{BB962C8B-B14F-4D97-AF65-F5344CB8AC3E}">
        <p14:creationId xmlns:p14="http://schemas.microsoft.com/office/powerpoint/2010/main" val="24957104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962628C8-C0A5-4B9D-9656-8287E3C42C87}"/>
              </a:ext>
            </a:extLst>
          </p:cNvPr>
          <p:cNvSpPr/>
          <p:nvPr/>
        </p:nvSpPr>
        <p:spPr>
          <a:xfrm>
            <a:off x="5701902" y="0"/>
            <a:ext cx="6490097" cy="6858000"/>
          </a:xfrm>
          <a:prstGeom prst="rect">
            <a:avLst/>
          </a:prstGeom>
          <a:solidFill>
            <a:schemeClr val="bg1"/>
          </a:solidFill>
          <a:ln w="6350">
            <a:solidFill>
              <a:schemeClr val="bg1">
                <a:lumMod val="85000"/>
              </a:schemeClr>
            </a:solidFill>
          </a:ln>
          <a:effectLst/>
          <a:extLst>
            <a:ext uri="{AF507438-7753-43E0-B8FC-AC1667EBCBE1}">
              <a14:hiddenEffects xmlns:a14="http://schemas.microsoft.com/office/drawing/2010/main">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07000"/>
              </a:lnSpc>
              <a:spcBef>
                <a:spcPts val="1800"/>
              </a:spcBef>
              <a:spcAft>
                <a:spcPts val="1200"/>
              </a:spcAft>
            </a:pPr>
            <a:endParaRPr lang="en-IN" sz="18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TextBox 3">
            <a:extLst>
              <a:ext uri="{FF2B5EF4-FFF2-40B4-BE49-F238E27FC236}">
                <a16:creationId xmlns:a16="http://schemas.microsoft.com/office/drawing/2014/main" id="{79348BEE-35C6-914A-99ED-29FD9660A944}"/>
              </a:ext>
            </a:extLst>
          </p:cNvPr>
          <p:cNvSpPr txBox="1"/>
          <p:nvPr/>
        </p:nvSpPr>
        <p:spPr>
          <a:xfrm>
            <a:off x="14655800" y="8001000"/>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8" name="Rectangle 17">
            <a:extLst>
              <a:ext uri="{FF2B5EF4-FFF2-40B4-BE49-F238E27FC236}">
                <a16:creationId xmlns:a16="http://schemas.microsoft.com/office/drawing/2014/main" id="{58803304-4059-4B39-A8FD-BF265478CCD1}"/>
              </a:ext>
            </a:extLst>
          </p:cNvPr>
          <p:cNvSpPr/>
          <p:nvPr/>
        </p:nvSpPr>
        <p:spPr>
          <a:xfrm>
            <a:off x="167862" y="1835261"/>
            <a:ext cx="4580433" cy="4570247"/>
          </a:xfrm>
          <a:prstGeom prst="rect">
            <a:avLst/>
          </a:prstGeom>
          <a:noFill/>
        </p:spPr>
        <p:txBody>
          <a:bodyPr wrap="square" lIns="365760" rIns="2438400" numCol="1" anchor="ctr" anchorCtr="0">
            <a:noAutofit/>
          </a:bodyPr>
          <a:lstStyle/>
          <a:p>
            <a:pPr marL="0" marR="0" lvl="0" indent="0" algn="l" defTabSz="1218774" rtl="0" eaLnBrk="1" fontAlgn="auto" latinLnBrk="0" hangingPunct="1">
              <a:lnSpc>
                <a:spcPct val="100000"/>
              </a:lnSpc>
              <a:spcBef>
                <a:spcPts val="0"/>
              </a:spcBef>
              <a:spcAft>
                <a:spcPts val="0"/>
              </a:spcAft>
              <a:buClrTx/>
              <a:buSzTx/>
              <a:buFontTx/>
              <a:buNone/>
              <a:tabLst/>
              <a:defRPr/>
            </a:pPr>
            <a:endParaRPr kumimoji="0" lang="en-US" sz="1333" b="1" i="0" u="none" strike="noStrike" kern="1200" cap="none" spc="0" normalizeH="0" baseline="0" noProof="0">
              <a:ln>
                <a:noFill/>
              </a:ln>
              <a:solidFill>
                <a:srgbClr val="000000"/>
              </a:solidFill>
              <a:effectLst/>
              <a:uLnTx/>
              <a:uFillTx/>
              <a:latin typeface="Verdana"/>
              <a:ea typeface="+mn-ea"/>
              <a:cs typeface="+mn-cs"/>
            </a:endParaRPr>
          </a:p>
        </p:txBody>
      </p:sp>
      <p:sp>
        <p:nvSpPr>
          <p:cNvPr id="6" name="TextBox 5">
            <a:extLst>
              <a:ext uri="{FF2B5EF4-FFF2-40B4-BE49-F238E27FC236}">
                <a16:creationId xmlns:a16="http://schemas.microsoft.com/office/drawing/2014/main" id="{C7C054F1-0260-4B18-B4F7-2B03906013D2}"/>
              </a:ext>
            </a:extLst>
          </p:cNvPr>
          <p:cNvSpPr txBox="1"/>
          <p:nvPr/>
        </p:nvSpPr>
        <p:spPr>
          <a:xfrm>
            <a:off x="167862" y="1001535"/>
            <a:ext cx="5286148" cy="6336991"/>
          </a:xfrm>
          <a:prstGeom prst="rect">
            <a:avLst/>
          </a:prstGeom>
          <a:noFill/>
        </p:spPr>
        <p:txBody>
          <a:bodyPr wrap="square" lIns="0" rtlCol="0">
            <a:spAutoFit/>
          </a:bodyPr>
          <a:lstStyle/>
          <a:p>
            <a:pPr marL="0" marR="0" lvl="0" indent="0" algn="l" defTabSz="1218774" rtl="0" eaLnBrk="1" fontAlgn="auto" latinLnBrk="0" hangingPunct="1">
              <a:lnSpc>
                <a:spcPct val="100000"/>
              </a:lnSpc>
              <a:spcBef>
                <a:spcPts val="0"/>
              </a:spcBef>
              <a:spcAft>
                <a:spcPts val="0"/>
              </a:spcAft>
              <a:buClr>
                <a:prstClr val="white"/>
              </a:buClr>
              <a:buSzTx/>
              <a:buFontTx/>
              <a:buNone/>
              <a:tabLst/>
              <a:defRPr/>
            </a:pPr>
            <a:r>
              <a:rPr kumimoji="0" lang="en-US" sz="1100" b="1"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mn-cs"/>
              </a:rPr>
              <a:t>Challenge</a:t>
            </a:r>
            <a:endParaRPr lang="en-IN" sz="1100">
              <a:solidFill>
                <a:srgbClr val="000000"/>
              </a:solidFill>
              <a:latin typeface="Verdana" panose="020B0604030504040204" pitchFamily="34" charset="0"/>
              <a:ea typeface="Verdana" panose="020B0604030504040204" pitchFamily="34" charset="0"/>
            </a:endParaRPr>
          </a:p>
          <a:p>
            <a:pPr marL="171450" indent="-171450" defTabSz="1218774">
              <a:spcBef>
                <a:spcPts val="80"/>
              </a:spcBef>
              <a:buClr>
                <a:srgbClr val="0070AD"/>
              </a:buClr>
              <a:buFont typeface="Wingdings" panose="05000000000000000000" pitchFamily="2" charset="2"/>
              <a:buChar char="§"/>
              <a:defRPr/>
            </a:pPr>
            <a:r>
              <a:rPr lang="en-IN" sz="1100" b="0" i="0">
                <a:solidFill>
                  <a:srgbClr val="212529"/>
                </a:solidFill>
                <a:effectLst/>
                <a:latin typeface="Open Sans" panose="020B0606030504020204" pitchFamily="34" charset="0"/>
              </a:rPr>
              <a:t>Travel for work is something most companies require. But before going on a business trip, the employee has to receive approval for travel. </a:t>
            </a:r>
          </a:p>
          <a:p>
            <a:pPr marL="171450" indent="-171450" defTabSz="1218774">
              <a:spcBef>
                <a:spcPts val="80"/>
              </a:spcBef>
              <a:buClr>
                <a:srgbClr val="0070AD"/>
              </a:buClr>
              <a:buFont typeface="Wingdings" panose="05000000000000000000" pitchFamily="2" charset="2"/>
              <a:buChar char="§"/>
              <a:defRPr/>
            </a:pPr>
            <a:r>
              <a:rPr lang="en-IN" sz="1100" b="0" i="0">
                <a:solidFill>
                  <a:srgbClr val="212529"/>
                </a:solidFill>
                <a:effectLst/>
                <a:latin typeface="Open Sans" panose="020B0606030504020204" pitchFamily="34" charset="0"/>
              </a:rPr>
              <a:t> However, the form should include important information such as employee data, the purpose of traveling, estimated expenses, and the supervisor’s approval.</a:t>
            </a:r>
          </a:p>
          <a:p>
            <a:pPr defTabSz="1218774">
              <a:spcBef>
                <a:spcPts val="80"/>
              </a:spcBef>
              <a:buClr>
                <a:srgbClr val="0070AD"/>
              </a:buClr>
              <a:defRPr/>
            </a:pPr>
            <a:endParaRPr kumimoji="0" lang="en-US" sz="1100" b="0"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mn-cs"/>
            </a:endParaRPr>
          </a:p>
          <a:p>
            <a:pPr marL="0" marR="0" lvl="0" indent="0" algn="l" defTabSz="1218774" rtl="0" eaLnBrk="1" fontAlgn="auto" latinLnBrk="0" hangingPunct="1">
              <a:lnSpc>
                <a:spcPct val="100000"/>
              </a:lnSpc>
              <a:spcBef>
                <a:spcPts val="0"/>
              </a:spcBef>
              <a:spcAft>
                <a:spcPts val="0"/>
              </a:spcAft>
              <a:buClr>
                <a:prstClr val="white"/>
              </a:buClr>
              <a:buSzTx/>
              <a:buFontTx/>
              <a:buNone/>
              <a:tabLst/>
              <a:defRPr/>
            </a:pPr>
            <a:r>
              <a:rPr kumimoji="0" lang="en-US" sz="1100" b="1"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mn-cs"/>
              </a:rPr>
              <a:t>Solution</a:t>
            </a:r>
            <a:endParaRPr lang="en-IN" sz="1100">
              <a:solidFill>
                <a:srgbClr val="000000"/>
              </a:solidFill>
              <a:latin typeface="Verdana" panose="020B0604030504040204" pitchFamily="34" charset="0"/>
              <a:ea typeface="Verdana" panose="020B0604030504040204" pitchFamily="34" charset="0"/>
            </a:endParaRPr>
          </a:p>
          <a:p>
            <a:pPr marL="171450" lvl="0" indent="-171450" defTabSz="1218774">
              <a:lnSpc>
                <a:spcPct val="107000"/>
              </a:lnSpc>
              <a:spcBef>
                <a:spcPts val="80"/>
              </a:spcBef>
              <a:buClr>
                <a:srgbClr val="0070AD"/>
              </a:buClr>
              <a:buFont typeface="Wingdings" panose="05000000000000000000" pitchFamily="2" charset="2"/>
              <a:buChar char="§"/>
              <a:defRPr/>
            </a:pPr>
            <a:r>
              <a:rPr lang="en-US" sz="1100">
                <a:solidFill>
                  <a:srgbClr val="000000"/>
                </a:solidFill>
                <a:latin typeface="Verdana" panose="020B0604030504040204" pitchFamily="34" charset="0"/>
                <a:ea typeface="Verdana" panose="020B0604030504040204" pitchFamily="34" charset="0"/>
              </a:rPr>
              <a:t>A Staff member fills a Travel Request form with these fields: Purpose, Travel Start Date, Travel End Date and Travel Cost.</a:t>
            </a:r>
            <a:endParaRPr lang="en-IN" sz="1100">
              <a:solidFill>
                <a:srgbClr val="000000"/>
              </a:solidFill>
              <a:latin typeface="Verdana" panose="020B0604030504040204" pitchFamily="34" charset="0"/>
              <a:ea typeface="Verdana" panose="020B0604030504040204" pitchFamily="34" charset="0"/>
            </a:endParaRPr>
          </a:p>
          <a:p>
            <a:pPr marL="171450" lvl="0" indent="-171450" defTabSz="1218774">
              <a:lnSpc>
                <a:spcPct val="107000"/>
              </a:lnSpc>
              <a:spcBef>
                <a:spcPts val="80"/>
              </a:spcBef>
              <a:buClr>
                <a:srgbClr val="0070AD"/>
              </a:buClr>
              <a:buFont typeface="Wingdings" panose="05000000000000000000" pitchFamily="2" charset="2"/>
              <a:buChar char="§"/>
              <a:defRPr/>
            </a:pPr>
            <a:r>
              <a:rPr lang="en-US" sz="1100">
                <a:solidFill>
                  <a:srgbClr val="000000"/>
                </a:solidFill>
                <a:latin typeface="Verdana" panose="020B0604030504040204" pitchFamily="34" charset="0"/>
                <a:ea typeface="Verdana" panose="020B0604030504040204" pitchFamily="34" charset="0"/>
              </a:rPr>
              <a:t>The Request is submitted for Level 1 Approval to the Line Manager who can either Approve or Reject the Travel Dates and Purpose. No need to provide a reason.</a:t>
            </a:r>
            <a:endParaRPr lang="en-IN" sz="1100">
              <a:solidFill>
                <a:srgbClr val="000000"/>
              </a:solidFill>
              <a:latin typeface="Verdana" panose="020B0604030504040204" pitchFamily="34" charset="0"/>
              <a:ea typeface="Verdana" panose="020B0604030504040204" pitchFamily="34" charset="0"/>
            </a:endParaRPr>
          </a:p>
          <a:p>
            <a:pPr marL="171450" lvl="0" indent="-171450" defTabSz="1218774">
              <a:lnSpc>
                <a:spcPct val="107000"/>
              </a:lnSpc>
              <a:spcBef>
                <a:spcPts val="80"/>
              </a:spcBef>
              <a:buClr>
                <a:srgbClr val="0070AD"/>
              </a:buClr>
              <a:buFont typeface="Wingdings" panose="05000000000000000000" pitchFamily="2" charset="2"/>
              <a:buChar char="§"/>
              <a:defRPr/>
            </a:pPr>
            <a:r>
              <a:rPr lang="en-US" sz="1100">
                <a:solidFill>
                  <a:srgbClr val="000000"/>
                </a:solidFill>
                <a:latin typeface="Verdana" panose="020B0604030504040204" pitchFamily="34" charset="0"/>
                <a:ea typeface="Verdana" panose="020B0604030504040204" pitchFamily="34" charset="0"/>
              </a:rPr>
              <a:t>If Line Manager Approves, the Request is sent to the Department Manager and CFO simultaneously for Level 2 Approval.</a:t>
            </a:r>
            <a:endParaRPr lang="en-IN" sz="1100">
              <a:solidFill>
                <a:srgbClr val="000000"/>
              </a:solidFill>
              <a:latin typeface="Verdana" panose="020B0604030504040204" pitchFamily="34" charset="0"/>
              <a:ea typeface="Verdana" panose="020B0604030504040204" pitchFamily="34" charset="0"/>
            </a:endParaRPr>
          </a:p>
          <a:p>
            <a:pPr marL="171450" lvl="0" indent="-171450" defTabSz="1218774">
              <a:lnSpc>
                <a:spcPct val="107000"/>
              </a:lnSpc>
              <a:spcBef>
                <a:spcPts val="80"/>
              </a:spcBef>
              <a:buClr>
                <a:srgbClr val="0070AD"/>
              </a:buClr>
              <a:buFont typeface="Wingdings" panose="05000000000000000000" pitchFamily="2" charset="2"/>
              <a:buChar char="§"/>
              <a:defRPr/>
            </a:pPr>
            <a:r>
              <a:rPr lang="en-US" sz="1100">
                <a:solidFill>
                  <a:srgbClr val="000000"/>
                </a:solidFill>
                <a:latin typeface="Verdana" panose="020B0604030504040204" pitchFamily="34" charset="0"/>
                <a:ea typeface="Verdana" panose="020B0604030504040204" pitchFamily="34" charset="0"/>
              </a:rPr>
              <a:t>Department Manager can Approve or Reject the request and has to provide the Reason behind the decision.</a:t>
            </a:r>
            <a:endParaRPr lang="en-IN" sz="1100">
              <a:solidFill>
                <a:srgbClr val="000000"/>
              </a:solidFill>
              <a:latin typeface="Verdana" panose="020B0604030504040204" pitchFamily="34" charset="0"/>
              <a:ea typeface="Verdana" panose="020B0604030504040204" pitchFamily="34" charset="0"/>
            </a:endParaRPr>
          </a:p>
          <a:p>
            <a:pPr marL="171450" lvl="0" indent="-171450" defTabSz="1218774">
              <a:lnSpc>
                <a:spcPct val="107000"/>
              </a:lnSpc>
              <a:spcBef>
                <a:spcPts val="80"/>
              </a:spcBef>
              <a:buClr>
                <a:srgbClr val="0070AD"/>
              </a:buClr>
              <a:buFont typeface="Wingdings" panose="05000000000000000000" pitchFamily="2" charset="2"/>
              <a:buChar char="§"/>
              <a:defRPr/>
            </a:pPr>
            <a:r>
              <a:rPr lang="en-US" sz="1100">
                <a:solidFill>
                  <a:srgbClr val="000000"/>
                </a:solidFill>
                <a:latin typeface="Verdana" panose="020B0604030504040204" pitchFamily="34" charset="0"/>
                <a:ea typeface="Verdana" panose="020B0604030504040204" pitchFamily="34" charset="0"/>
              </a:rPr>
              <a:t>CFO can either Approve or Reject the Travel Cost. There is no need to provide a reason.</a:t>
            </a:r>
            <a:endParaRPr lang="en-IN" sz="1100">
              <a:solidFill>
                <a:srgbClr val="000000"/>
              </a:solidFill>
              <a:latin typeface="Verdana" panose="020B0604030504040204" pitchFamily="34" charset="0"/>
              <a:ea typeface="Verdana" panose="020B0604030504040204" pitchFamily="34" charset="0"/>
            </a:endParaRPr>
          </a:p>
          <a:p>
            <a:pPr marL="171450" lvl="0" indent="-171450" defTabSz="1218774">
              <a:lnSpc>
                <a:spcPct val="107000"/>
              </a:lnSpc>
              <a:spcBef>
                <a:spcPts val="80"/>
              </a:spcBef>
              <a:buClr>
                <a:srgbClr val="0070AD"/>
              </a:buClr>
              <a:buFont typeface="Wingdings" panose="05000000000000000000" pitchFamily="2" charset="2"/>
              <a:buChar char="§"/>
              <a:defRPr/>
            </a:pPr>
            <a:r>
              <a:rPr lang="en-US" sz="1100">
                <a:solidFill>
                  <a:srgbClr val="000000"/>
                </a:solidFill>
                <a:latin typeface="Verdana" panose="020B0604030504040204" pitchFamily="34" charset="0"/>
                <a:ea typeface="Verdana" panose="020B0604030504040204" pitchFamily="34" charset="0"/>
              </a:rPr>
              <a:t>In Level 3 Approval, CEO receives the Travel Request when both Department Manager and CFO have Approved their part.</a:t>
            </a:r>
            <a:endParaRPr lang="en-IN" sz="1100">
              <a:solidFill>
                <a:srgbClr val="000000"/>
              </a:solidFill>
              <a:latin typeface="Verdana" panose="020B0604030504040204" pitchFamily="34" charset="0"/>
              <a:ea typeface="Verdana" panose="020B0604030504040204" pitchFamily="34" charset="0"/>
            </a:endParaRPr>
          </a:p>
          <a:p>
            <a:pPr marL="171450" lvl="0" indent="-171450" defTabSz="1218774">
              <a:lnSpc>
                <a:spcPct val="107000"/>
              </a:lnSpc>
              <a:spcBef>
                <a:spcPts val="80"/>
              </a:spcBef>
              <a:buClr>
                <a:srgbClr val="0070AD"/>
              </a:buClr>
              <a:buFont typeface="Wingdings" panose="05000000000000000000" pitchFamily="2" charset="2"/>
              <a:buChar char="§"/>
              <a:defRPr/>
            </a:pPr>
            <a:r>
              <a:rPr lang="en-US" sz="1100">
                <a:solidFill>
                  <a:srgbClr val="000000"/>
                </a:solidFill>
                <a:latin typeface="Verdana" panose="020B0604030504040204" pitchFamily="34" charset="0"/>
                <a:ea typeface="Verdana" panose="020B0604030504040204" pitchFamily="34" charset="0"/>
              </a:rPr>
              <a:t>CEO can Approve or Reject or can ask Department Manager to rephrase the Approval Reason to make it more convincing (Rework).</a:t>
            </a:r>
            <a:endParaRPr lang="en-IN" sz="1100">
              <a:solidFill>
                <a:srgbClr val="000000"/>
              </a:solidFill>
              <a:latin typeface="Verdana" panose="020B0604030504040204" pitchFamily="34" charset="0"/>
              <a:ea typeface="Verdana" panose="020B0604030504040204" pitchFamily="34" charset="0"/>
            </a:endParaRPr>
          </a:p>
          <a:p>
            <a:pPr marL="171450" lvl="0" indent="-171450" defTabSz="1218774">
              <a:lnSpc>
                <a:spcPct val="107000"/>
              </a:lnSpc>
              <a:spcBef>
                <a:spcPts val="80"/>
              </a:spcBef>
              <a:buClr>
                <a:srgbClr val="0070AD"/>
              </a:buClr>
              <a:buFont typeface="Wingdings" panose="05000000000000000000" pitchFamily="2" charset="2"/>
              <a:buChar char="§"/>
              <a:defRPr/>
            </a:pPr>
            <a:r>
              <a:rPr lang="en-US" sz="1100">
                <a:solidFill>
                  <a:srgbClr val="000000"/>
                </a:solidFill>
                <a:latin typeface="Verdana" panose="020B0604030504040204" pitchFamily="34" charset="0"/>
                <a:ea typeface="Verdana" panose="020B0604030504040204" pitchFamily="34" charset="0"/>
              </a:rPr>
              <a:t>If Rework is asked for, request goes back to Department Manager who can then change the Approval Reason to submit it back to CEO for reconsideration.</a:t>
            </a:r>
            <a:endParaRPr lang="en-IN" sz="1100">
              <a:solidFill>
                <a:srgbClr val="000000"/>
              </a:solidFill>
              <a:latin typeface="Verdana" panose="020B0604030504040204" pitchFamily="34" charset="0"/>
              <a:ea typeface="Verdana" panose="020B0604030504040204" pitchFamily="34" charset="0"/>
            </a:endParaRPr>
          </a:p>
          <a:p>
            <a:pPr marL="171450" lvl="0" indent="-171450" defTabSz="1218774">
              <a:lnSpc>
                <a:spcPct val="107000"/>
              </a:lnSpc>
              <a:spcBef>
                <a:spcPts val="80"/>
              </a:spcBef>
              <a:spcAft>
                <a:spcPts val="800"/>
              </a:spcAft>
              <a:buClr>
                <a:srgbClr val="0070AD"/>
              </a:buClr>
              <a:buFont typeface="Wingdings" panose="05000000000000000000" pitchFamily="2" charset="2"/>
              <a:buChar char="§"/>
              <a:defRPr/>
            </a:pPr>
            <a:r>
              <a:rPr lang="en-US" sz="1100">
                <a:solidFill>
                  <a:srgbClr val="000000"/>
                </a:solidFill>
                <a:latin typeface="Verdana" panose="020B0604030504040204" pitchFamily="34" charset="0"/>
                <a:ea typeface="Verdana" panose="020B0604030504040204" pitchFamily="34" charset="0"/>
              </a:rPr>
              <a:t>If either Line Manager, Department Manager, CFO or CEO Rejects the request, then inform Staff via email that it was Rejected and set Request Status to Rejected for future reference.</a:t>
            </a:r>
          </a:p>
          <a:p>
            <a:pPr marL="0" marR="0" lvl="0" indent="0" algn="l" defTabSz="1218774" rtl="0" eaLnBrk="1" fontAlgn="auto" latinLnBrk="0" hangingPunct="1">
              <a:lnSpc>
                <a:spcPct val="100000"/>
              </a:lnSpc>
              <a:spcBef>
                <a:spcPts val="0"/>
              </a:spcBef>
              <a:spcAft>
                <a:spcPts val="0"/>
              </a:spcAft>
              <a:buClr>
                <a:prstClr val="white"/>
              </a:buClr>
              <a:buSzTx/>
              <a:buFontTx/>
              <a:buNone/>
              <a:tabLst/>
              <a:defRPr/>
            </a:pPr>
            <a:r>
              <a:rPr lang="en-US" sz="1100" b="1">
                <a:solidFill>
                  <a:srgbClr val="000000"/>
                </a:solidFill>
                <a:latin typeface="Verdana" panose="020B0604030504040204" pitchFamily="34" charset="0"/>
                <a:ea typeface="Verdana" panose="020B0604030504040204" pitchFamily="34" charset="0"/>
              </a:rPr>
              <a:t>Data Source</a:t>
            </a:r>
            <a:endParaRPr kumimoji="0" lang="en-US" sz="1100" b="1"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mn-cs"/>
            </a:endParaRPr>
          </a:p>
          <a:p>
            <a:pPr marL="171450" indent="-171450" defTabSz="1218774">
              <a:spcBef>
                <a:spcPts val="80"/>
              </a:spcBef>
              <a:buClr>
                <a:srgbClr val="0070AD"/>
              </a:buClr>
              <a:buFont typeface="Wingdings" panose="05000000000000000000" pitchFamily="2" charset="2"/>
              <a:buChar char="§"/>
              <a:defRPr/>
            </a:pPr>
            <a:r>
              <a:rPr lang="en-US" sz="1100">
                <a:solidFill>
                  <a:srgbClr val="000000"/>
                </a:solidFill>
                <a:latin typeface="Verdana" panose="020B0604030504040204" pitchFamily="34" charset="0"/>
                <a:ea typeface="Verdana" panose="020B0604030504040204" pitchFamily="34" charset="0"/>
              </a:rPr>
              <a:t>Data verse</a:t>
            </a:r>
            <a:endParaRPr lang="en-IN" sz="1100">
              <a:solidFill>
                <a:srgbClr val="000000"/>
              </a:solidFill>
              <a:latin typeface="Verdana" panose="020B0604030504040204" pitchFamily="34" charset="0"/>
              <a:ea typeface="Verdana" panose="020B0604030504040204" pitchFamily="34" charset="0"/>
            </a:endParaRPr>
          </a:p>
          <a:p>
            <a:pPr marL="171450" lvl="0" indent="-171450" defTabSz="1218774">
              <a:lnSpc>
                <a:spcPct val="107000"/>
              </a:lnSpc>
              <a:spcBef>
                <a:spcPts val="80"/>
              </a:spcBef>
              <a:spcAft>
                <a:spcPts val="800"/>
              </a:spcAft>
              <a:buClr>
                <a:srgbClr val="0070AD"/>
              </a:buClr>
              <a:buFont typeface="Wingdings" panose="05000000000000000000" pitchFamily="2" charset="2"/>
              <a:buChar char="§"/>
              <a:defRPr/>
            </a:pPr>
            <a:endParaRPr lang="en-IN" sz="1100">
              <a:solidFill>
                <a:srgbClr val="000000"/>
              </a:solidFill>
              <a:latin typeface="Verdana" panose="020B0604030504040204" pitchFamily="34" charset="0"/>
              <a:ea typeface="Verdana" panose="020B0604030504040204" pitchFamily="34" charset="0"/>
            </a:endParaRPr>
          </a:p>
          <a:p>
            <a:pPr marR="0" lvl="0" algn="l" defTabSz="1218774" rtl="0" eaLnBrk="1" fontAlgn="auto" latinLnBrk="0" hangingPunct="1">
              <a:lnSpc>
                <a:spcPct val="100000"/>
              </a:lnSpc>
              <a:spcBef>
                <a:spcPts val="80"/>
              </a:spcBef>
              <a:spcAft>
                <a:spcPts val="0"/>
              </a:spcAft>
              <a:buClr>
                <a:srgbClr val="0070AD"/>
              </a:buClr>
              <a:buSzTx/>
              <a:tabLst/>
              <a:defRPr/>
            </a:pPr>
            <a:endParaRPr kumimoji="0" lang="en-US" sz="1100" b="0"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mn-cs"/>
            </a:endParaRPr>
          </a:p>
        </p:txBody>
      </p:sp>
      <p:sp>
        <p:nvSpPr>
          <p:cNvPr id="21" name="TextBox 20">
            <a:extLst>
              <a:ext uri="{FF2B5EF4-FFF2-40B4-BE49-F238E27FC236}">
                <a16:creationId xmlns:a16="http://schemas.microsoft.com/office/drawing/2014/main" id="{B3AA87E3-CBDC-4B14-B7B3-8120F1D55DD6}"/>
              </a:ext>
            </a:extLst>
          </p:cNvPr>
          <p:cNvSpPr txBox="1"/>
          <p:nvPr/>
        </p:nvSpPr>
        <p:spPr>
          <a:xfrm>
            <a:off x="230075" y="400159"/>
            <a:ext cx="5286148" cy="619721"/>
          </a:xfrm>
          <a:prstGeom prst="rect">
            <a:avLst/>
          </a:prstGeom>
          <a:noFill/>
        </p:spPr>
        <p:txBody>
          <a:bodyPr wrap="square" lIns="0" rtlCol="0">
            <a:spAutoFit/>
          </a:bodyPr>
          <a:lstStyle>
            <a:defPPr>
              <a:defRPr lang="en-US"/>
            </a:defPPr>
            <a:lvl1pPr algn="just" defTabSz="1218774">
              <a:defRPr sz="1200" b="1">
                <a:latin typeface="Verdana" panose="020B0604030504040204" pitchFamily="34" charset="0"/>
                <a:ea typeface="Verdana" panose="020B0604030504040204" pitchFamily="34" charset="0"/>
              </a:defRPr>
            </a:lvl1pPr>
          </a:lstStyle>
          <a:p>
            <a:pPr>
              <a:lnSpc>
                <a:spcPct val="107000"/>
              </a:lnSpc>
              <a:spcAft>
                <a:spcPts val="800"/>
              </a:spcAft>
            </a:pPr>
            <a:r>
              <a:rPr lang="en-US" sz="1100">
                <a:solidFill>
                  <a:srgbClr val="000000"/>
                </a:solidFill>
              </a:rPr>
              <a:t>Summary</a:t>
            </a:r>
            <a:r>
              <a:rPr kumimoji="0" lang="en-US" sz="1100"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mn-cs"/>
              </a:rPr>
              <a:t>:</a:t>
            </a:r>
            <a:r>
              <a:rPr lang="en-US" sz="1100" b="0">
                <a:solidFill>
                  <a:srgbClr val="000000"/>
                </a:solidFill>
              </a:rPr>
              <a:t>Power App Solution to build Travel Request Approval App that also includes Power Automate for different level of Travel Request Approval</a:t>
            </a:r>
            <a:endParaRPr lang="en-IN" sz="1100" b="0">
              <a:solidFill>
                <a:srgbClr val="000000"/>
              </a:solidFill>
            </a:endParaRPr>
          </a:p>
        </p:txBody>
      </p:sp>
      <p:sp>
        <p:nvSpPr>
          <p:cNvPr id="3" name="Title 2"/>
          <p:cNvSpPr>
            <a:spLocks noGrp="1"/>
          </p:cNvSpPr>
          <p:nvPr>
            <p:ph type="title"/>
          </p:nvPr>
        </p:nvSpPr>
        <p:spPr>
          <a:xfrm>
            <a:off x="-2679" y="311165"/>
            <a:ext cx="5518902" cy="106462"/>
          </a:xfrm>
        </p:spPr>
        <p:txBody>
          <a:bodyPr>
            <a:normAutofit fontScale="90000"/>
          </a:bodyPr>
          <a:lstStyle/>
          <a:p>
            <a:r>
              <a:rPr lang="en-US">
                <a:latin typeface="+mn-lt"/>
              </a:rPr>
              <a:t>Travel Request Approval App</a:t>
            </a:r>
            <a:br>
              <a:rPr lang="en-IN" sz="1800" b="1" kern="0">
                <a:solidFill>
                  <a:srgbClr val="2F5496"/>
                </a:solidFill>
                <a:effectLst/>
                <a:latin typeface="Calibri Light" panose="020F0302020204030204" pitchFamily="34" charset="0"/>
                <a:ea typeface="Times New Roman" panose="02020603050405020304" pitchFamily="18" charset="0"/>
                <a:cs typeface="Times New Roman" panose="02020603050405020304" pitchFamily="18" charset="0"/>
              </a:rPr>
            </a:br>
            <a:br>
              <a:rPr lang="en-IN" sz="1800" b="1" kern="0">
                <a:solidFill>
                  <a:srgbClr val="2F5496"/>
                </a:solidFill>
                <a:effectLst/>
                <a:latin typeface="Calibri Light" panose="020F0302020204030204" pitchFamily="34" charset="0"/>
                <a:ea typeface="Times New Roman" panose="02020603050405020304" pitchFamily="18" charset="0"/>
                <a:cs typeface="Times New Roman" panose="02020603050405020304" pitchFamily="18" charset="0"/>
              </a:rPr>
            </a:br>
            <a:endParaRPr lang="en-US">
              <a:solidFill>
                <a:schemeClr val="tx1"/>
              </a:solidFill>
              <a:latin typeface="+mn-lt"/>
            </a:endParaRPr>
          </a:p>
        </p:txBody>
      </p:sp>
      <p:sp>
        <p:nvSpPr>
          <p:cNvPr id="37" name="Line 7">
            <a:extLst>
              <a:ext uri="{FF2B5EF4-FFF2-40B4-BE49-F238E27FC236}">
                <a16:creationId xmlns:a16="http://schemas.microsoft.com/office/drawing/2014/main" id="{879EF856-5619-47F5-9D62-45DC06CF88AB}"/>
              </a:ext>
            </a:extLst>
          </p:cNvPr>
          <p:cNvSpPr>
            <a:spLocks noChangeShapeType="1"/>
          </p:cNvSpPr>
          <p:nvPr/>
        </p:nvSpPr>
        <p:spPr bwMode="gray">
          <a:xfrm>
            <a:off x="11588751" y="6450412"/>
            <a:ext cx="0" cy="319616"/>
          </a:xfrm>
          <a:prstGeom prst="line">
            <a:avLst/>
          </a:prstGeom>
          <a:noFill/>
          <a:ln w="9525">
            <a:solidFill>
              <a:srgbClr val="969696"/>
            </a:solidFill>
            <a:round/>
            <a:headEnd/>
            <a:tailEnd/>
          </a:ln>
          <a:effectLst/>
        </p:spPr>
        <p:txBody>
          <a:bodyPr wrap="none" anchor="ctr"/>
          <a:lstStyle/>
          <a:p>
            <a:pPr marL="0" marR="0" lvl="0" indent="0" algn="l" defTabSz="1088239"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srgbClr val="0070AD"/>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8" name="Text Box 8">
            <a:extLst>
              <a:ext uri="{FF2B5EF4-FFF2-40B4-BE49-F238E27FC236}">
                <a16:creationId xmlns:a16="http://schemas.microsoft.com/office/drawing/2014/main" id="{8F2775FB-E41D-4C41-AB7B-8FA926273B7A}"/>
              </a:ext>
            </a:extLst>
          </p:cNvPr>
          <p:cNvSpPr txBox="1">
            <a:spLocks noChangeArrowheads="1"/>
          </p:cNvSpPr>
          <p:nvPr/>
        </p:nvSpPr>
        <p:spPr bwMode="gray">
          <a:xfrm>
            <a:off x="11588753" y="6448295"/>
            <a:ext cx="603249" cy="323851"/>
          </a:xfrm>
          <a:prstGeom prst="rect">
            <a:avLst/>
          </a:prstGeom>
          <a:noFill/>
          <a:ln w="12700" algn="ctr">
            <a:noFill/>
            <a:miter lim="800000"/>
            <a:headEnd/>
            <a:tailEnd type="none" w="lg" len="lg"/>
          </a:ln>
          <a:effectLst/>
        </p:spPr>
        <p:txBody>
          <a:bodyPr anchor="ctr" anchorCtr="1"/>
          <a:lstStyle/>
          <a:p>
            <a:pPr marL="0" marR="0" lvl="0" indent="0" algn="l" defTabSz="1088239" rtl="0" eaLnBrk="0" fontAlgn="auto" latinLnBrk="0" hangingPunct="0">
              <a:lnSpc>
                <a:spcPct val="85000"/>
              </a:lnSpc>
              <a:spcBef>
                <a:spcPts val="0"/>
              </a:spcBef>
              <a:spcAft>
                <a:spcPts val="0"/>
              </a:spcAft>
              <a:buClrTx/>
              <a:buSzTx/>
              <a:buFontTx/>
              <a:buNone/>
              <a:tabLst/>
              <a:defRPr/>
            </a:pPr>
            <a:fld id="{D8875A08-D8CE-4767-B6E0-EF624296B065}" type="slidenum">
              <a:rPr kumimoji="0" lang="en-US" sz="933" b="0" i="0" u="none" strike="noStrike" kern="1200" cap="none" spc="0" normalizeH="0" baseline="0" noProof="0">
                <a:ln>
                  <a:noFill/>
                </a:ln>
                <a:solidFill>
                  <a:srgbClr val="969696"/>
                </a:solidFill>
                <a:effectLst/>
                <a:uLnTx/>
                <a:uFillTx/>
                <a:latin typeface="Verdana" panose="020B0604030504040204" pitchFamily="34" charset="0"/>
                <a:ea typeface="Verdana" panose="020B0604030504040204" pitchFamily="34" charset="0"/>
                <a:cs typeface="Verdana" panose="020B0604030504040204" pitchFamily="34" charset="0"/>
              </a:rPr>
              <a:pPr marL="0" marR="0" lvl="0" indent="0" algn="l" defTabSz="1088239" rtl="0" eaLnBrk="0" fontAlgn="auto" latinLnBrk="0" hangingPunct="0">
                <a:lnSpc>
                  <a:spcPct val="85000"/>
                </a:lnSpc>
                <a:spcBef>
                  <a:spcPts val="0"/>
                </a:spcBef>
                <a:spcAft>
                  <a:spcPts val="0"/>
                </a:spcAft>
                <a:buClrTx/>
                <a:buSzTx/>
                <a:buFontTx/>
                <a:buNone/>
                <a:tabLst/>
                <a:defRPr/>
              </a:pPr>
              <a:t>4</a:t>
            </a:fld>
            <a:endParaRPr kumimoji="0" lang="en-US" sz="933" b="0" i="0" u="none" strike="noStrike" kern="1200" cap="none" spc="0" normalizeH="0" baseline="0" noProof="0">
              <a:ln>
                <a:noFill/>
              </a:ln>
              <a:solidFill>
                <a:srgbClr val="969696"/>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pic>
        <p:nvPicPr>
          <p:cNvPr id="12" name="Picture 11">
            <a:extLst>
              <a:ext uri="{FF2B5EF4-FFF2-40B4-BE49-F238E27FC236}">
                <a16:creationId xmlns:a16="http://schemas.microsoft.com/office/drawing/2014/main" id="{0F87E10A-948F-4FEC-BACB-600D80E61DF9}"/>
              </a:ext>
            </a:extLst>
          </p:cNvPr>
          <p:cNvPicPr/>
          <p:nvPr/>
        </p:nvPicPr>
        <p:blipFill>
          <a:blip r:embed="rId3"/>
          <a:stretch>
            <a:fillRect/>
          </a:stretch>
        </p:blipFill>
        <p:spPr>
          <a:xfrm>
            <a:off x="5808122" y="418879"/>
            <a:ext cx="6228809" cy="3154391"/>
          </a:xfrm>
          <a:prstGeom prst="rect">
            <a:avLst/>
          </a:prstGeom>
        </p:spPr>
      </p:pic>
    </p:spTree>
    <p:extLst>
      <p:ext uri="{BB962C8B-B14F-4D97-AF65-F5344CB8AC3E}">
        <p14:creationId xmlns:p14="http://schemas.microsoft.com/office/powerpoint/2010/main" val="17179766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962628C8-C0A5-4B9D-9656-8287E3C42C87}"/>
              </a:ext>
            </a:extLst>
          </p:cNvPr>
          <p:cNvSpPr/>
          <p:nvPr/>
        </p:nvSpPr>
        <p:spPr>
          <a:xfrm>
            <a:off x="5701902" y="0"/>
            <a:ext cx="6490097" cy="6858000"/>
          </a:xfrm>
          <a:prstGeom prst="rect">
            <a:avLst/>
          </a:prstGeom>
          <a:solidFill>
            <a:schemeClr val="bg1"/>
          </a:solidFill>
          <a:ln w="6350">
            <a:solidFill>
              <a:schemeClr val="bg1">
                <a:lumMod val="85000"/>
              </a:schemeClr>
            </a:solidFill>
          </a:ln>
          <a:effectLst/>
          <a:extLst>
            <a:ext uri="{AF507438-7753-43E0-B8FC-AC1667EBCBE1}">
              <a14:hiddenEffects xmlns:a14="http://schemas.microsoft.com/office/drawing/2010/main">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07000"/>
              </a:lnSpc>
              <a:spcBef>
                <a:spcPts val="1800"/>
              </a:spcBef>
              <a:spcAft>
                <a:spcPts val="1200"/>
              </a:spcAft>
            </a:pPr>
            <a:endParaRPr lang="en-IN" sz="18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TextBox 3">
            <a:extLst>
              <a:ext uri="{FF2B5EF4-FFF2-40B4-BE49-F238E27FC236}">
                <a16:creationId xmlns:a16="http://schemas.microsoft.com/office/drawing/2014/main" id="{79348BEE-35C6-914A-99ED-29FD9660A944}"/>
              </a:ext>
            </a:extLst>
          </p:cNvPr>
          <p:cNvSpPr txBox="1"/>
          <p:nvPr/>
        </p:nvSpPr>
        <p:spPr>
          <a:xfrm>
            <a:off x="14655800" y="8001000"/>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8" name="Rectangle 17">
            <a:extLst>
              <a:ext uri="{FF2B5EF4-FFF2-40B4-BE49-F238E27FC236}">
                <a16:creationId xmlns:a16="http://schemas.microsoft.com/office/drawing/2014/main" id="{58803304-4059-4B39-A8FD-BF265478CCD1}"/>
              </a:ext>
            </a:extLst>
          </p:cNvPr>
          <p:cNvSpPr/>
          <p:nvPr/>
        </p:nvSpPr>
        <p:spPr>
          <a:xfrm>
            <a:off x="167862" y="1835261"/>
            <a:ext cx="4580433" cy="4570247"/>
          </a:xfrm>
          <a:prstGeom prst="rect">
            <a:avLst/>
          </a:prstGeom>
          <a:noFill/>
        </p:spPr>
        <p:txBody>
          <a:bodyPr wrap="square" lIns="365760" rIns="2438400" numCol="1" anchor="ctr" anchorCtr="0">
            <a:noAutofit/>
          </a:bodyPr>
          <a:lstStyle/>
          <a:p>
            <a:pPr marL="0" marR="0" lvl="0" indent="0" algn="l" defTabSz="1218774" rtl="0" eaLnBrk="1" fontAlgn="auto" latinLnBrk="0" hangingPunct="1">
              <a:lnSpc>
                <a:spcPct val="100000"/>
              </a:lnSpc>
              <a:spcBef>
                <a:spcPts val="0"/>
              </a:spcBef>
              <a:spcAft>
                <a:spcPts val="0"/>
              </a:spcAft>
              <a:buClrTx/>
              <a:buSzTx/>
              <a:buFontTx/>
              <a:buNone/>
              <a:tabLst/>
              <a:defRPr/>
            </a:pPr>
            <a:endParaRPr kumimoji="0" lang="en-US" sz="1333" b="1" i="0" u="none" strike="noStrike" kern="1200" cap="none" spc="0" normalizeH="0" baseline="0" noProof="0">
              <a:ln>
                <a:noFill/>
              </a:ln>
              <a:solidFill>
                <a:srgbClr val="000000"/>
              </a:solidFill>
              <a:effectLst/>
              <a:uLnTx/>
              <a:uFillTx/>
              <a:latin typeface="Verdana"/>
              <a:ea typeface="+mn-ea"/>
              <a:cs typeface="+mn-cs"/>
            </a:endParaRPr>
          </a:p>
        </p:txBody>
      </p:sp>
      <p:sp>
        <p:nvSpPr>
          <p:cNvPr id="6" name="TextBox 5">
            <a:extLst>
              <a:ext uri="{FF2B5EF4-FFF2-40B4-BE49-F238E27FC236}">
                <a16:creationId xmlns:a16="http://schemas.microsoft.com/office/drawing/2014/main" id="{C7C054F1-0260-4B18-B4F7-2B03906013D2}"/>
              </a:ext>
            </a:extLst>
          </p:cNvPr>
          <p:cNvSpPr txBox="1"/>
          <p:nvPr/>
        </p:nvSpPr>
        <p:spPr>
          <a:xfrm>
            <a:off x="230075" y="1589043"/>
            <a:ext cx="5286148" cy="5090176"/>
          </a:xfrm>
          <a:prstGeom prst="rect">
            <a:avLst/>
          </a:prstGeom>
          <a:noFill/>
        </p:spPr>
        <p:txBody>
          <a:bodyPr wrap="square" lIns="0" rtlCol="0">
            <a:spAutoFit/>
          </a:bodyPr>
          <a:lstStyle/>
          <a:p>
            <a:pPr marL="0" marR="0" lvl="0" indent="0" algn="l" defTabSz="1218774" rtl="0" eaLnBrk="1" fontAlgn="auto" latinLnBrk="0" hangingPunct="1">
              <a:lnSpc>
                <a:spcPct val="100000"/>
              </a:lnSpc>
              <a:spcBef>
                <a:spcPts val="0"/>
              </a:spcBef>
              <a:spcAft>
                <a:spcPts val="0"/>
              </a:spcAft>
              <a:buClr>
                <a:prstClr val="white"/>
              </a:buClr>
              <a:buSzTx/>
              <a:buFontTx/>
              <a:buNone/>
              <a:tabLst/>
              <a:defRPr/>
            </a:pPr>
            <a:r>
              <a:rPr kumimoji="0" lang="en-US" sz="1100" b="1"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mn-cs"/>
              </a:rPr>
              <a:t>Challenge</a:t>
            </a:r>
            <a:endParaRPr lang="en-IN" sz="1100">
              <a:solidFill>
                <a:srgbClr val="000000"/>
              </a:solidFill>
              <a:latin typeface="Verdana" panose="020B0604030504040204" pitchFamily="34" charset="0"/>
              <a:ea typeface="Verdana" panose="020B0604030504040204" pitchFamily="34" charset="0"/>
            </a:endParaRPr>
          </a:p>
          <a:p>
            <a:pPr marL="171450" indent="-171450" defTabSz="1218774">
              <a:lnSpc>
                <a:spcPct val="107000"/>
              </a:lnSpc>
              <a:spcBef>
                <a:spcPts val="80"/>
              </a:spcBef>
              <a:buClr>
                <a:srgbClr val="0070AD"/>
              </a:buClr>
              <a:buFont typeface="Wingdings" panose="05000000000000000000" pitchFamily="2" charset="2"/>
              <a:buChar char="§"/>
              <a:defRPr/>
            </a:pPr>
            <a:r>
              <a:rPr lang="en-IN" sz="1100">
                <a:solidFill>
                  <a:srgbClr val="000000"/>
                </a:solidFill>
                <a:latin typeface="Verdana" panose="020B0604030504040204" pitchFamily="34" charset="0"/>
                <a:ea typeface="Verdana" panose="020B0604030504040204" pitchFamily="34" charset="0"/>
              </a:rPr>
              <a:t>Manual entry and routing of expense reports</a:t>
            </a:r>
          </a:p>
          <a:p>
            <a:pPr marL="171450" indent="-171450" defTabSz="1218774">
              <a:lnSpc>
                <a:spcPct val="107000"/>
              </a:lnSpc>
              <a:spcBef>
                <a:spcPts val="80"/>
              </a:spcBef>
              <a:buClr>
                <a:srgbClr val="0070AD"/>
              </a:buClr>
              <a:buFont typeface="Wingdings" panose="05000000000000000000" pitchFamily="2" charset="2"/>
              <a:buChar char="§"/>
              <a:defRPr/>
            </a:pPr>
            <a:r>
              <a:rPr lang="en-IN" sz="1100">
                <a:solidFill>
                  <a:srgbClr val="000000"/>
                </a:solidFill>
                <a:latin typeface="Verdana" panose="020B0604030504040204" pitchFamily="34" charset="0"/>
                <a:ea typeface="Verdana" panose="020B0604030504040204" pitchFamily="34" charset="0"/>
              </a:rPr>
              <a:t>Lack of visibility into spend data </a:t>
            </a:r>
          </a:p>
          <a:p>
            <a:pPr marL="171450" indent="-171450" defTabSz="1218774">
              <a:lnSpc>
                <a:spcPct val="107000"/>
              </a:lnSpc>
              <a:spcBef>
                <a:spcPts val="80"/>
              </a:spcBef>
              <a:buClr>
                <a:srgbClr val="0070AD"/>
              </a:buClr>
              <a:buFont typeface="Wingdings" panose="05000000000000000000" pitchFamily="2" charset="2"/>
              <a:buChar char="§"/>
              <a:defRPr/>
            </a:pPr>
            <a:r>
              <a:rPr lang="en-IN" sz="1100">
                <a:solidFill>
                  <a:srgbClr val="000000"/>
                </a:solidFill>
                <a:latin typeface="Verdana" panose="020B0604030504040204" pitchFamily="34" charset="0"/>
                <a:ea typeface="Verdana" panose="020B0604030504040204" pitchFamily="34" charset="0"/>
              </a:rPr>
              <a:t>Lost Paper Based expense reports </a:t>
            </a:r>
          </a:p>
          <a:p>
            <a:pPr marL="171450" indent="-171450" defTabSz="1218774">
              <a:lnSpc>
                <a:spcPct val="107000"/>
              </a:lnSpc>
              <a:spcBef>
                <a:spcPts val="80"/>
              </a:spcBef>
              <a:buClr>
                <a:srgbClr val="0070AD"/>
              </a:buClr>
              <a:buFont typeface="Wingdings" panose="05000000000000000000" pitchFamily="2" charset="2"/>
              <a:buChar char="§"/>
              <a:defRPr/>
            </a:pPr>
            <a:r>
              <a:rPr lang="en-IN" sz="1100">
                <a:solidFill>
                  <a:srgbClr val="000000"/>
                </a:solidFill>
                <a:latin typeface="Verdana" panose="020B0604030504040204" pitchFamily="34" charset="0"/>
                <a:ea typeface="Verdana" panose="020B0604030504040204" pitchFamily="34" charset="0"/>
              </a:rPr>
              <a:t>Lengthy expense approval system and reimbursement cycles </a:t>
            </a:r>
          </a:p>
          <a:p>
            <a:pPr defTabSz="1218774">
              <a:spcBef>
                <a:spcPts val="80"/>
              </a:spcBef>
              <a:buClr>
                <a:srgbClr val="0070AD"/>
              </a:buClr>
              <a:defRPr/>
            </a:pPr>
            <a:endParaRPr kumimoji="0" lang="en-US" sz="1100" b="0"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mn-cs"/>
            </a:endParaRPr>
          </a:p>
          <a:p>
            <a:pPr defTabSz="1218774">
              <a:spcBef>
                <a:spcPts val="80"/>
              </a:spcBef>
              <a:buClr>
                <a:srgbClr val="0070AD"/>
              </a:buClr>
              <a:defRPr/>
            </a:pPr>
            <a:endParaRPr lang="en-US" sz="1100">
              <a:solidFill>
                <a:srgbClr val="000000"/>
              </a:solidFill>
              <a:latin typeface="Verdana" panose="020B0604030504040204" pitchFamily="34" charset="0"/>
              <a:ea typeface="Verdana" panose="020B0604030504040204" pitchFamily="34" charset="0"/>
            </a:endParaRPr>
          </a:p>
          <a:p>
            <a:pPr defTabSz="1218774">
              <a:spcBef>
                <a:spcPts val="80"/>
              </a:spcBef>
              <a:buClr>
                <a:srgbClr val="0070AD"/>
              </a:buClr>
              <a:defRPr/>
            </a:pPr>
            <a:endParaRPr kumimoji="0" lang="en-US" sz="1100" b="0"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mn-cs"/>
            </a:endParaRPr>
          </a:p>
          <a:p>
            <a:pPr marL="0" marR="0" lvl="0" indent="0" algn="l" defTabSz="1218774" rtl="0" eaLnBrk="1" fontAlgn="auto" latinLnBrk="0" hangingPunct="1">
              <a:lnSpc>
                <a:spcPct val="100000"/>
              </a:lnSpc>
              <a:spcBef>
                <a:spcPts val="0"/>
              </a:spcBef>
              <a:spcAft>
                <a:spcPts val="0"/>
              </a:spcAft>
              <a:buClr>
                <a:prstClr val="white"/>
              </a:buClr>
              <a:buSzTx/>
              <a:buFontTx/>
              <a:buNone/>
              <a:tabLst/>
              <a:defRPr/>
            </a:pPr>
            <a:r>
              <a:rPr kumimoji="0" lang="en-US" sz="1100" b="1"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mn-cs"/>
              </a:rPr>
              <a:t>Solution</a:t>
            </a:r>
            <a:endParaRPr lang="en-IN" sz="1100">
              <a:solidFill>
                <a:srgbClr val="000000"/>
              </a:solidFill>
              <a:latin typeface="Verdana" panose="020B0604030504040204" pitchFamily="34" charset="0"/>
              <a:ea typeface="Verdana" panose="020B0604030504040204" pitchFamily="34" charset="0"/>
            </a:endParaRPr>
          </a:p>
          <a:p>
            <a:pPr marL="171450" indent="-171450" defTabSz="1218774">
              <a:lnSpc>
                <a:spcPct val="107000"/>
              </a:lnSpc>
              <a:spcBef>
                <a:spcPts val="80"/>
              </a:spcBef>
              <a:buClr>
                <a:srgbClr val="0070AD"/>
              </a:buClr>
              <a:buFont typeface="Wingdings" panose="05000000000000000000" pitchFamily="2" charset="2"/>
              <a:buChar char="§"/>
              <a:defRPr/>
            </a:pPr>
            <a:r>
              <a:rPr lang="en-US" sz="1100">
                <a:solidFill>
                  <a:srgbClr val="000000"/>
                </a:solidFill>
                <a:latin typeface="Verdana" panose="020B0604030504040204" pitchFamily="34" charset="0"/>
                <a:ea typeface="Verdana" panose="020B0604030504040204" pitchFamily="34" charset="0"/>
              </a:rPr>
              <a:t>Provision to add new Asset and save records in SharePoint list</a:t>
            </a:r>
            <a:endParaRPr lang="en-IN" sz="1100">
              <a:solidFill>
                <a:srgbClr val="000000"/>
              </a:solidFill>
              <a:latin typeface="Verdana" panose="020B0604030504040204" pitchFamily="34" charset="0"/>
              <a:ea typeface="Verdana" panose="020B0604030504040204" pitchFamily="34" charset="0"/>
            </a:endParaRPr>
          </a:p>
          <a:p>
            <a:pPr marL="171450" indent="-171450" defTabSz="1218774">
              <a:lnSpc>
                <a:spcPct val="107000"/>
              </a:lnSpc>
              <a:spcBef>
                <a:spcPts val="80"/>
              </a:spcBef>
              <a:buClr>
                <a:srgbClr val="0070AD"/>
              </a:buClr>
              <a:buFont typeface="Wingdings" panose="05000000000000000000" pitchFamily="2" charset="2"/>
              <a:buChar char="§"/>
              <a:defRPr/>
            </a:pPr>
            <a:r>
              <a:rPr lang="en-US" sz="1100">
                <a:solidFill>
                  <a:srgbClr val="000000"/>
                </a:solidFill>
                <a:latin typeface="Verdana" panose="020B0604030504040204" pitchFamily="34" charset="0"/>
                <a:ea typeface="Verdana" panose="020B0604030504040204" pitchFamily="34" charset="0"/>
              </a:rPr>
              <a:t>Provision to upload Asset receipts </a:t>
            </a:r>
            <a:endParaRPr lang="en-IN" sz="1100">
              <a:solidFill>
                <a:srgbClr val="000000"/>
              </a:solidFill>
              <a:latin typeface="Verdana" panose="020B0604030504040204" pitchFamily="34" charset="0"/>
              <a:ea typeface="Verdana" panose="020B0604030504040204" pitchFamily="34" charset="0"/>
            </a:endParaRPr>
          </a:p>
          <a:p>
            <a:pPr marL="171450" indent="-171450" defTabSz="1218774">
              <a:lnSpc>
                <a:spcPct val="107000"/>
              </a:lnSpc>
              <a:spcBef>
                <a:spcPts val="80"/>
              </a:spcBef>
              <a:buClr>
                <a:srgbClr val="0070AD"/>
              </a:buClr>
              <a:buFont typeface="Wingdings" panose="05000000000000000000" pitchFamily="2" charset="2"/>
              <a:buChar char="§"/>
              <a:defRPr/>
            </a:pPr>
            <a:r>
              <a:rPr lang="en-US" sz="1100">
                <a:solidFill>
                  <a:srgbClr val="000000"/>
                </a:solidFill>
                <a:latin typeface="Verdana" panose="020B0604030504040204" pitchFamily="34" charset="0"/>
                <a:ea typeface="Verdana" panose="020B0604030504040204" pitchFamily="34" charset="0"/>
              </a:rPr>
              <a:t>Provision to add multiple line items for a specific </a:t>
            </a:r>
            <a:r>
              <a:rPr lang="en-IN" sz="1100">
                <a:solidFill>
                  <a:srgbClr val="000000"/>
                </a:solidFill>
                <a:latin typeface="Verdana" panose="020B0604030504040204" pitchFamily="34" charset="0"/>
                <a:ea typeface="Verdana" panose="020B0604030504040204" pitchFamily="34" charset="0"/>
              </a:rPr>
              <a:t>Asset</a:t>
            </a:r>
          </a:p>
          <a:p>
            <a:pPr marL="171450" indent="-171450" defTabSz="1218774">
              <a:lnSpc>
                <a:spcPct val="107000"/>
              </a:lnSpc>
              <a:spcBef>
                <a:spcPts val="80"/>
              </a:spcBef>
              <a:buClr>
                <a:srgbClr val="0070AD"/>
              </a:buClr>
              <a:buFont typeface="Wingdings" panose="05000000000000000000" pitchFamily="2" charset="2"/>
              <a:buChar char="§"/>
              <a:defRPr/>
            </a:pPr>
            <a:r>
              <a:rPr lang="en-US" sz="1100">
                <a:solidFill>
                  <a:srgbClr val="000000"/>
                </a:solidFill>
                <a:latin typeface="Verdana" panose="020B0604030504040204" pitchFamily="34" charset="0"/>
                <a:ea typeface="Verdana" panose="020B0604030504040204" pitchFamily="34" charset="0"/>
              </a:rPr>
              <a:t>Provision to view details like my allocated Asset (Pending/ Approved/ Rejected).</a:t>
            </a:r>
            <a:endParaRPr lang="en-IN" sz="1100">
              <a:solidFill>
                <a:srgbClr val="000000"/>
              </a:solidFill>
              <a:latin typeface="Verdana" panose="020B0604030504040204" pitchFamily="34" charset="0"/>
              <a:ea typeface="Verdana" panose="020B0604030504040204" pitchFamily="34" charset="0"/>
            </a:endParaRPr>
          </a:p>
          <a:p>
            <a:pPr marL="171450" indent="-171450" defTabSz="1218774">
              <a:lnSpc>
                <a:spcPct val="107000"/>
              </a:lnSpc>
              <a:spcBef>
                <a:spcPts val="80"/>
              </a:spcBef>
              <a:buClr>
                <a:srgbClr val="0070AD"/>
              </a:buClr>
              <a:buFont typeface="Wingdings" panose="05000000000000000000" pitchFamily="2" charset="2"/>
              <a:buChar char="§"/>
              <a:defRPr/>
            </a:pPr>
            <a:r>
              <a:rPr lang="en-US" sz="1100">
                <a:solidFill>
                  <a:srgbClr val="000000"/>
                </a:solidFill>
                <a:latin typeface="Verdana" panose="020B0604030504040204" pitchFamily="34" charset="0"/>
                <a:ea typeface="Verdana" panose="020B0604030504040204" pitchFamily="34" charset="0"/>
              </a:rPr>
              <a:t>Approval screen for approvers to approve the </a:t>
            </a:r>
            <a:r>
              <a:rPr lang="en-IN" sz="1100">
                <a:solidFill>
                  <a:srgbClr val="000000"/>
                </a:solidFill>
                <a:latin typeface="Verdana" panose="020B0604030504040204" pitchFamily="34" charset="0"/>
                <a:ea typeface="Verdana" panose="020B0604030504040204" pitchFamily="34" charset="0"/>
              </a:rPr>
              <a:t>Asset Allocation</a:t>
            </a:r>
          </a:p>
          <a:p>
            <a:pPr marL="171450" indent="-171450" defTabSz="1218774">
              <a:lnSpc>
                <a:spcPct val="107000"/>
              </a:lnSpc>
              <a:spcBef>
                <a:spcPts val="80"/>
              </a:spcBef>
              <a:buClr>
                <a:srgbClr val="0070AD"/>
              </a:buClr>
              <a:buFont typeface="Wingdings" panose="05000000000000000000" pitchFamily="2" charset="2"/>
              <a:buChar char="§"/>
              <a:defRPr/>
            </a:pPr>
            <a:r>
              <a:rPr lang="en-US" sz="1100">
                <a:solidFill>
                  <a:srgbClr val="000000"/>
                </a:solidFill>
                <a:latin typeface="Verdana" panose="020B0604030504040204" pitchFamily="34" charset="0"/>
                <a:ea typeface="Verdana" panose="020B0604030504040204" pitchFamily="34" charset="0"/>
              </a:rPr>
              <a:t>Approval flow based on amount of </a:t>
            </a:r>
            <a:r>
              <a:rPr lang="en-IN" sz="1100">
                <a:solidFill>
                  <a:srgbClr val="000000"/>
                </a:solidFill>
                <a:latin typeface="Verdana" panose="020B0604030504040204" pitchFamily="34" charset="0"/>
                <a:ea typeface="Verdana" panose="020B0604030504040204" pitchFamily="34" charset="0"/>
              </a:rPr>
              <a:t>cost of Asset</a:t>
            </a:r>
          </a:p>
          <a:p>
            <a:pPr marL="171450" indent="-171450" defTabSz="1218774">
              <a:lnSpc>
                <a:spcPct val="107000"/>
              </a:lnSpc>
              <a:spcBef>
                <a:spcPts val="80"/>
              </a:spcBef>
              <a:buClr>
                <a:srgbClr val="0070AD"/>
              </a:buClr>
              <a:buFont typeface="Wingdings" panose="05000000000000000000" pitchFamily="2" charset="2"/>
              <a:buChar char="§"/>
              <a:defRPr/>
            </a:pPr>
            <a:r>
              <a:rPr lang="en-US" sz="1100">
                <a:solidFill>
                  <a:srgbClr val="000000"/>
                </a:solidFill>
                <a:latin typeface="Verdana" panose="020B0604030504040204" pitchFamily="34" charset="0"/>
                <a:ea typeface="Verdana" panose="020B0604030504040204" pitchFamily="34" charset="0"/>
              </a:rPr>
              <a:t>If expense &gt; 100000, then L1 and L2 approval</a:t>
            </a:r>
            <a:endParaRPr lang="en-IN" sz="1100">
              <a:solidFill>
                <a:srgbClr val="000000"/>
              </a:solidFill>
              <a:latin typeface="Verdana" panose="020B0604030504040204" pitchFamily="34" charset="0"/>
              <a:ea typeface="Verdana" panose="020B0604030504040204" pitchFamily="34" charset="0"/>
            </a:endParaRPr>
          </a:p>
          <a:p>
            <a:pPr marL="171450" indent="-171450" defTabSz="1218774">
              <a:lnSpc>
                <a:spcPct val="107000"/>
              </a:lnSpc>
              <a:spcBef>
                <a:spcPts val="80"/>
              </a:spcBef>
              <a:buClr>
                <a:srgbClr val="0070AD"/>
              </a:buClr>
              <a:buFont typeface="Wingdings" panose="05000000000000000000" pitchFamily="2" charset="2"/>
              <a:buChar char="§"/>
              <a:defRPr/>
            </a:pPr>
            <a:r>
              <a:rPr lang="en-US" sz="1100">
                <a:solidFill>
                  <a:srgbClr val="000000"/>
                </a:solidFill>
                <a:latin typeface="Verdana" panose="020B0604030504040204" pitchFamily="34" charset="0"/>
                <a:ea typeface="Verdana" panose="020B0604030504040204" pitchFamily="34" charset="0"/>
              </a:rPr>
              <a:t>If expense &lt;100000, then L1 approval</a:t>
            </a:r>
            <a:endParaRPr lang="en-IN" sz="1100">
              <a:solidFill>
                <a:srgbClr val="000000"/>
              </a:solidFill>
              <a:latin typeface="Verdana" panose="020B0604030504040204" pitchFamily="34" charset="0"/>
              <a:ea typeface="Verdana" panose="020B0604030504040204" pitchFamily="34" charset="0"/>
            </a:endParaRPr>
          </a:p>
          <a:p>
            <a:pPr marL="171450" indent="-171450" defTabSz="1218774">
              <a:lnSpc>
                <a:spcPct val="107000"/>
              </a:lnSpc>
              <a:spcBef>
                <a:spcPts val="80"/>
              </a:spcBef>
              <a:spcAft>
                <a:spcPts val="800"/>
              </a:spcAft>
              <a:buClr>
                <a:srgbClr val="0070AD"/>
              </a:buClr>
              <a:buFont typeface="Wingdings" panose="05000000000000000000" pitchFamily="2" charset="2"/>
              <a:buChar char="§"/>
              <a:defRPr/>
            </a:pPr>
            <a:r>
              <a:rPr lang="en-US" sz="1100">
                <a:solidFill>
                  <a:srgbClr val="000000"/>
                </a:solidFill>
                <a:latin typeface="Verdana" panose="020B0604030504040204" pitchFamily="34" charset="0"/>
                <a:ea typeface="Verdana" panose="020B0604030504040204" pitchFamily="34" charset="0"/>
              </a:rPr>
              <a:t>Export functionality should be there for admin users to data for total expenses in month</a:t>
            </a:r>
          </a:p>
          <a:p>
            <a:pPr marL="171450" indent="-171450" defTabSz="1218774">
              <a:lnSpc>
                <a:spcPct val="107000"/>
              </a:lnSpc>
              <a:spcBef>
                <a:spcPts val="80"/>
              </a:spcBef>
              <a:spcAft>
                <a:spcPts val="800"/>
              </a:spcAft>
              <a:buClr>
                <a:srgbClr val="0070AD"/>
              </a:buClr>
              <a:buFont typeface="Wingdings" panose="05000000000000000000" pitchFamily="2" charset="2"/>
              <a:buChar char="§"/>
              <a:defRPr/>
            </a:pPr>
            <a:endParaRPr lang="en-US" sz="1100">
              <a:solidFill>
                <a:srgbClr val="000000"/>
              </a:solidFill>
              <a:latin typeface="Verdana" panose="020B0604030504040204" pitchFamily="34" charset="0"/>
              <a:ea typeface="Verdana" panose="020B0604030504040204" pitchFamily="34" charset="0"/>
            </a:endParaRPr>
          </a:p>
          <a:p>
            <a:pPr marL="0" marR="0" lvl="0" indent="0" algn="l" defTabSz="1218774" rtl="0" eaLnBrk="1" fontAlgn="auto" latinLnBrk="0" hangingPunct="1">
              <a:lnSpc>
                <a:spcPct val="100000"/>
              </a:lnSpc>
              <a:spcBef>
                <a:spcPts val="0"/>
              </a:spcBef>
              <a:spcAft>
                <a:spcPts val="0"/>
              </a:spcAft>
              <a:buClr>
                <a:prstClr val="white"/>
              </a:buClr>
              <a:buSzTx/>
              <a:buFontTx/>
              <a:buNone/>
              <a:tabLst/>
              <a:defRPr/>
            </a:pPr>
            <a:r>
              <a:rPr lang="en-US" sz="1100" b="1">
                <a:solidFill>
                  <a:srgbClr val="000000"/>
                </a:solidFill>
                <a:latin typeface="Verdana" panose="020B0604030504040204" pitchFamily="34" charset="0"/>
                <a:ea typeface="Verdana" panose="020B0604030504040204" pitchFamily="34" charset="0"/>
              </a:rPr>
              <a:t>Data Source</a:t>
            </a:r>
            <a:endParaRPr kumimoji="0" lang="en-US" sz="1100" b="1"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mn-cs"/>
            </a:endParaRPr>
          </a:p>
          <a:p>
            <a:pPr marL="171450" indent="-171450" defTabSz="1218774">
              <a:spcBef>
                <a:spcPts val="80"/>
              </a:spcBef>
              <a:buClr>
                <a:srgbClr val="0070AD"/>
              </a:buClr>
              <a:buFont typeface="Wingdings" panose="05000000000000000000" pitchFamily="2" charset="2"/>
              <a:buChar char="§"/>
              <a:defRPr/>
            </a:pPr>
            <a:r>
              <a:rPr lang="en-US" sz="1100">
                <a:solidFill>
                  <a:srgbClr val="000000"/>
                </a:solidFill>
                <a:latin typeface="Verdana" panose="020B0604030504040204" pitchFamily="34" charset="0"/>
                <a:ea typeface="Verdana" panose="020B0604030504040204" pitchFamily="34" charset="0"/>
              </a:rPr>
              <a:t>Data verse</a:t>
            </a:r>
            <a:endParaRPr lang="en-IN" sz="1100">
              <a:solidFill>
                <a:srgbClr val="000000"/>
              </a:solidFill>
              <a:latin typeface="Verdana" panose="020B0604030504040204" pitchFamily="34" charset="0"/>
              <a:ea typeface="Verdana" panose="020B0604030504040204" pitchFamily="34" charset="0"/>
            </a:endParaRPr>
          </a:p>
          <a:p>
            <a:pPr defTabSz="1218774">
              <a:lnSpc>
                <a:spcPct val="107000"/>
              </a:lnSpc>
              <a:spcBef>
                <a:spcPts val="80"/>
              </a:spcBef>
              <a:spcAft>
                <a:spcPts val="800"/>
              </a:spcAft>
              <a:buClr>
                <a:srgbClr val="0070AD"/>
              </a:buClr>
              <a:defRPr/>
            </a:pPr>
            <a:endParaRPr lang="en-IN" sz="1100">
              <a:solidFill>
                <a:srgbClr val="000000"/>
              </a:solidFill>
              <a:latin typeface="Verdana" panose="020B0604030504040204" pitchFamily="34" charset="0"/>
              <a:ea typeface="Verdana" panose="020B0604030504040204" pitchFamily="34" charset="0"/>
            </a:endParaRPr>
          </a:p>
          <a:p>
            <a:pPr marR="0" lvl="0" algn="l" defTabSz="1218774" rtl="0" eaLnBrk="1" fontAlgn="auto" latinLnBrk="0" hangingPunct="1">
              <a:lnSpc>
                <a:spcPct val="100000"/>
              </a:lnSpc>
              <a:spcBef>
                <a:spcPts val="80"/>
              </a:spcBef>
              <a:spcAft>
                <a:spcPts val="0"/>
              </a:spcAft>
              <a:buClr>
                <a:srgbClr val="0070AD"/>
              </a:buClr>
              <a:buSzTx/>
              <a:tabLst/>
              <a:defRPr/>
            </a:pPr>
            <a:endParaRPr kumimoji="0" lang="en-US" sz="1100" b="0"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mn-cs"/>
            </a:endParaRPr>
          </a:p>
        </p:txBody>
      </p:sp>
      <p:sp>
        <p:nvSpPr>
          <p:cNvPr id="21" name="TextBox 20">
            <a:extLst>
              <a:ext uri="{FF2B5EF4-FFF2-40B4-BE49-F238E27FC236}">
                <a16:creationId xmlns:a16="http://schemas.microsoft.com/office/drawing/2014/main" id="{B3AA87E3-CBDC-4B14-B7B3-8120F1D55DD6}"/>
              </a:ext>
            </a:extLst>
          </p:cNvPr>
          <p:cNvSpPr txBox="1"/>
          <p:nvPr/>
        </p:nvSpPr>
        <p:spPr>
          <a:xfrm>
            <a:off x="230075" y="667953"/>
            <a:ext cx="5286148" cy="1091774"/>
          </a:xfrm>
          <a:prstGeom prst="rect">
            <a:avLst/>
          </a:prstGeom>
          <a:noFill/>
        </p:spPr>
        <p:txBody>
          <a:bodyPr wrap="square" lIns="0" rtlCol="0">
            <a:spAutoFit/>
          </a:bodyPr>
          <a:lstStyle>
            <a:defPPr>
              <a:defRPr lang="en-US"/>
            </a:defPPr>
            <a:lvl1pPr algn="just" defTabSz="1218774">
              <a:defRPr sz="1200" b="1">
                <a:latin typeface="Verdana" panose="020B0604030504040204" pitchFamily="34" charset="0"/>
                <a:ea typeface="Verdana" panose="020B0604030504040204" pitchFamily="34" charset="0"/>
              </a:defRPr>
            </a:lvl1pPr>
          </a:lstStyle>
          <a:p>
            <a:pPr>
              <a:lnSpc>
                <a:spcPct val="107000"/>
              </a:lnSpc>
              <a:spcAft>
                <a:spcPts val="800"/>
              </a:spcAft>
            </a:pPr>
            <a:r>
              <a:rPr lang="en-US" sz="1100">
                <a:solidFill>
                  <a:srgbClr val="000000"/>
                </a:solidFill>
              </a:rPr>
              <a:t>Summary</a:t>
            </a:r>
            <a:r>
              <a:rPr kumimoji="0" lang="en-US" sz="1100"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mn-cs"/>
              </a:rPr>
              <a:t>:</a:t>
            </a:r>
            <a:r>
              <a:rPr lang="en-US" sz="1100" b="0">
                <a:solidFill>
                  <a:srgbClr val="000000"/>
                </a:solidFill>
              </a:rPr>
              <a:t>A PowerApps and </a:t>
            </a:r>
            <a:r>
              <a:rPr lang="en-US" sz="1100" b="0" err="1">
                <a:solidFill>
                  <a:srgbClr val="000000"/>
                </a:solidFill>
              </a:rPr>
              <a:t>Dataverse</a:t>
            </a:r>
            <a:r>
              <a:rPr lang="en-US" sz="1100" b="0">
                <a:solidFill>
                  <a:srgbClr val="000000"/>
                </a:solidFill>
              </a:rPr>
              <a:t> based solution for companies to manage expense related data and approval associated (data) for their employees, along with the dashboard for admin to monitor the monthly expenses</a:t>
            </a:r>
            <a:endParaRPr lang="en-IN" sz="1100" b="0">
              <a:solidFill>
                <a:srgbClr val="000000"/>
              </a:solidFill>
            </a:endParaRPr>
          </a:p>
          <a:p>
            <a:pPr>
              <a:lnSpc>
                <a:spcPct val="107000"/>
              </a:lnSpc>
              <a:spcAft>
                <a:spcPts val="800"/>
              </a:spcAft>
            </a:pPr>
            <a:endParaRPr lang="en-IN" sz="1100" b="0">
              <a:solidFill>
                <a:srgbClr val="212529"/>
              </a:solidFill>
              <a:latin typeface="Open Sans" panose="020B0606030504020204" pitchFamily="34" charset="0"/>
              <a:ea typeface="+mn-ea"/>
            </a:endParaRPr>
          </a:p>
        </p:txBody>
      </p:sp>
      <p:sp>
        <p:nvSpPr>
          <p:cNvPr id="3" name="Title 2"/>
          <p:cNvSpPr>
            <a:spLocks noGrp="1"/>
          </p:cNvSpPr>
          <p:nvPr>
            <p:ph type="title"/>
          </p:nvPr>
        </p:nvSpPr>
        <p:spPr>
          <a:xfrm>
            <a:off x="9203" y="346030"/>
            <a:ext cx="5518902" cy="106462"/>
          </a:xfrm>
        </p:spPr>
        <p:txBody>
          <a:bodyPr>
            <a:normAutofit fontScale="90000"/>
          </a:bodyPr>
          <a:lstStyle/>
          <a:p>
            <a:r>
              <a:rPr lang="en-US">
                <a:latin typeface="+mn-lt"/>
              </a:rPr>
              <a:t>Expense Management System</a:t>
            </a:r>
            <a:br>
              <a:rPr lang="en-IN" sz="1800" b="1" kern="0">
                <a:solidFill>
                  <a:srgbClr val="2F5496"/>
                </a:solidFill>
                <a:effectLst/>
                <a:latin typeface="Calibri Light" panose="020F0302020204030204" pitchFamily="34" charset="0"/>
                <a:ea typeface="Times New Roman" panose="02020603050405020304" pitchFamily="18" charset="0"/>
                <a:cs typeface="Times New Roman" panose="02020603050405020304" pitchFamily="18" charset="0"/>
              </a:rPr>
            </a:br>
            <a:endParaRPr lang="en-US">
              <a:solidFill>
                <a:schemeClr val="tx1"/>
              </a:solidFill>
              <a:latin typeface="+mn-lt"/>
            </a:endParaRPr>
          </a:p>
        </p:txBody>
      </p:sp>
      <p:sp>
        <p:nvSpPr>
          <p:cNvPr id="37" name="Line 7">
            <a:extLst>
              <a:ext uri="{FF2B5EF4-FFF2-40B4-BE49-F238E27FC236}">
                <a16:creationId xmlns:a16="http://schemas.microsoft.com/office/drawing/2014/main" id="{879EF856-5619-47F5-9D62-45DC06CF88AB}"/>
              </a:ext>
            </a:extLst>
          </p:cNvPr>
          <p:cNvSpPr>
            <a:spLocks noChangeShapeType="1"/>
          </p:cNvSpPr>
          <p:nvPr/>
        </p:nvSpPr>
        <p:spPr bwMode="gray">
          <a:xfrm>
            <a:off x="11588751" y="6450412"/>
            <a:ext cx="0" cy="319616"/>
          </a:xfrm>
          <a:prstGeom prst="line">
            <a:avLst/>
          </a:prstGeom>
          <a:noFill/>
          <a:ln w="9525">
            <a:solidFill>
              <a:srgbClr val="969696"/>
            </a:solidFill>
            <a:round/>
            <a:headEnd/>
            <a:tailEnd/>
          </a:ln>
          <a:effectLst/>
        </p:spPr>
        <p:txBody>
          <a:bodyPr wrap="none" anchor="ctr"/>
          <a:lstStyle/>
          <a:p>
            <a:pPr marL="0" marR="0" lvl="0" indent="0" algn="l" defTabSz="1088239"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srgbClr val="0070AD"/>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8" name="Text Box 8">
            <a:extLst>
              <a:ext uri="{FF2B5EF4-FFF2-40B4-BE49-F238E27FC236}">
                <a16:creationId xmlns:a16="http://schemas.microsoft.com/office/drawing/2014/main" id="{8F2775FB-E41D-4C41-AB7B-8FA926273B7A}"/>
              </a:ext>
            </a:extLst>
          </p:cNvPr>
          <p:cNvSpPr txBox="1">
            <a:spLocks noChangeArrowheads="1"/>
          </p:cNvSpPr>
          <p:nvPr/>
        </p:nvSpPr>
        <p:spPr bwMode="gray">
          <a:xfrm>
            <a:off x="11588753" y="6448295"/>
            <a:ext cx="603249" cy="323851"/>
          </a:xfrm>
          <a:prstGeom prst="rect">
            <a:avLst/>
          </a:prstGeom>
          <a:noFill/>
          <a:ln w="12700" algn="ctr">
            <a:noFill/>
            <a:miter lim="800000"/>
            <a:headEnd/>
            <a:tailEnd type="none" w="lg" len="lg"/>
          </a:ln>
          <a:effectLst/>
        </p:spPr>
        <p:txBody>
          <a:bodyPr anchor="ctr" anchorCtr="1"/>
          <a:lstStyle/>
          <a:p>
            <a:pPr marL="0" marR="0" lvl="0" indent="0" algn="l" defTabSz="1088239" rtl="0" eaLnBrk="0" fontAlgn="auto" latinLnBrk="0" hangingPunct="0">
              <a:lnSpc>
                <a:spcPct val="85000"/>
              </a:lnSpc>
              <a:spcBef>
                <a:spcPts val="0"/>
              </a:spcBef>
              <a:spcAft>
                <a:spcPts val="0"/>
              </a:spcAft>
              <a:buClrTx/>
              <a:buSzTx/>
              <a:buFontTx/>
              <a:buNone/>
              <a:tabLst/>
              <a:defRPr/>
            </a:pPr>
            <a:fld id="{D8875A08-D8CE-4767-B6E0-EF624296B065}" type="slidenum">
              <a:rPr kumimoji="0" lang="en-US" sz="933" b="0" i="0" u="none" strike="noStrike" kern="1200" cap="none" spc="0" normalizeH="0" baseline="0" noProof="0">
                <a:ln>
                  <a:noFill/>
                </a:ln>
                <a:solidFill>
                  <a:srgbClr val="969696"/>
                </a:solidFill>
                <a:effectLst/>
                <a:uLnTx/>
                <a:uFillTx/>
                <a:latin typeface="Verdana" panose="020B0604030504040204" pitchFamily="34" charset="0"/>
                <a:ea typeface="Verdana" panose="020B0604030504040204" pitchFamily="34" charset="0"/>
                <a:cs typeface="Verdana" panose="020B0604030504040204" pitchFamily="34" charset="0"/>
              </a:rPr>
              <a:pPr marL="0" marR="0" lvl="0" indent="0" algn="l" defTabSz="1088239" rtl="0" eaLnBrk="0" fontAlgn="auto" latinLnBrk="0" hangingPunct="0">
                <a:lnSpc>
                  <a:spcPct val="85000"/>
                </a:lnSpc>
                <a:spcBef>
                  <a:spcPts val="0"/>
                </a:spcBef>
                <a:spcAft>
                  <a:spcPts val="0"/>
                </a:spcAft>
                <a:buClrTx/>
                <a:buSzTx/>
                <a:buFontTx/>
                <a:buNone/>
                <a:tabLst/>
                <a:defRPr/>
              </a:pPr>
              <a:t>5</a:t>
            </a:fld>
            <a:endParaRPr kumimoji="0" lang="en-US" sz="933" b="0" i="0" u="none" strike="noStrike" kern="1200" cap="none" spc="0" normalizeH="0" baseline="0" noProof="0">
              <a:ln>
                <a:noFill/>
              </a:ln>
              <a:solidFill>
                <a:srgbClr val="969696"/>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8445269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962628C8-C0A5-4B9D-9656-8287E3C42C87}"/>
              </a:ext>
            </a:extLst>
          </p:cNvPr>
          <p:cNvSpPr/>
          <p:nvPr/>
        </p:nvSpPr>
        <p:spPr>
          <a:xfrm>
            <a:off x="5701902" y="0"/>
            <a:ext cx="6490097" cy="6858000"/>
          </a:xfrm>
          <a:prstGeom prst="rect">
            <a:avLst/>
          </a:prstGeom>
          <a:solidFill>
            <a:schemeClr val="bg1"/>
          </a:solidFill>
          <a:ln w="6350">
            <a:solidFill>
              <a:schemeClr val="bg1">
                <a:lumMod val="85000"/>
              </a:schemeClr>
            </a:solidFill>
          </a:ln>
          <a:effectLst/>
          <a:extLst>
            <a:ext uri="{AF507438-7753-43E0-B8FC-AC1667EBCBE1}">
              <a14:hiddenEffects xmlns:a14="http://schemas.microsoft.com/office/drawing/2010/main">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07000"/>
              </a:lnSpc>
              <a:spcBef>
                <a:spcPts val="1800"/>
              </a:spcBef>
              <a:spcAft>
                <a:spcPts val="1200"/>
              </a:spcAft>
            </a:pPr>
            <a:endParaRPr lang="en-IN" sz="18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TextBox 3">
            <a:extLst>
              <a:ext uri="{FF2B5EF4-FFF2-40B4-BE49-F238E27FC236}">
                <a16:creationId xmlns:a16="http://schemas.microsoft.com/office/drawing/2014/main" id="{79348BEE-35C6-914A-99ED-29FD9660A944}"/>
              </a:ext>
            </a:extLst>
          </p:cNvPr>
          <p:cNvSpPr txBox="1"/>
          <p:nvPr/>
        </p:nvSpPr>
        <p:spPr>
          <a:xfrm>
            <a:off x="14655800" y="8001000"/>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8" name="Rectangle 17">
            <a:extLst>
              <a:ext uri="{FF2B5EF4-FFF2-40B4-BE49-F238E27FC236}">
                <a16:creationId xmlns:a16="http://schemas.microsoft.com/office/drawing/2014/main" id="{58803304-4059-4B39-A8FD-BF265478CCD1}"/>
              </a:ext>
            </a:extLst>
          </p:cNvPr>
          <p:cNvSpPr/>
          <p:nvPr/>
        </p:nvSpPr>
        <p:spPr>
          <a:xfrm>
            <a:off x="167862" y="1835261"/>
            <a:ext cx="4580433" cy="4570247"/>
          </a:xfrm>
          <a:prstGeom prst="rect">
            <a:avLst/>
          </a:prstGeom>
          <a:noFill/>
        </p:spPr>
        <p:txBody>
          <a:bodyPr wrap="square" lIns="365760" rIns="2438400" numCol="1" anchor="ctr" anchorCtr="0">
            <a:noAutofit/>
          </a:bodyPr>
          <a:lstStyle/>
          <a:p>
            <a:pPr marL="0" marR="0" lvl="0" indent="0" algn="l" defTabSz="1218774" rtl="0" eaLnBrk="1" fontAlgn="auto" latinLnBrk="0" hangingPunct="1">
              <a:lnSpc>
                <a:spcPct val="100000"/>
              </a:lnSpc>
              <a:spcBef>
                <a:spcPts val="0"/>
              </a:spcBef>
              <a:spcAft>
                <a:spcPts val="0"/>
              </a:spcAft>
              <a:buClrTx/>
              <a:buSzTx/>
              <a:buFontTx/>
              <a:buNone/>
              <a:tabLst/>
              <a:defRPr/>
            </a:pPr>
            <a:endParaRPr kumimoji="0" lang="en-US" sz="1333" b="1" i="0" u="none" strike="noStrike" kern="1200" cap="none" spc="0" normalizeH="0" baseline="0" noProof="0">
              <a:ln>
                <a:noFill/>
              </a:ln>
              <a:solidFill>
                <a:srgbClr val="000000"/>
              </a:solidFill>
              <a:effectLst/>
              <a:uLnTx/>
              <a:uFillTx/>
              <a:latin typeface="Verdana"/>
              <a:ea typeface="+mn-ea"/>
              <a:cs typeface="+mn-cs"/>
            </a:endParaRPr>
          </a:p>
        </p:txBody>
      </p:sp>
      <p:sp>
        <p:nvSpPr>
          <p:cNvPr id="6" name="TextBox 5">
            <a:extLst>
              <a:ext uri="{FF2B5EF4-FFF2-40B4-BE49-F238E27FC236}">
                <a16:creationId xmlns:a16="http://schemas.microsoft.com/office/drawing/2014/main" id="{C7C054F1-0260-4B18-B4F7-2B03906013D2}"/>
              </a:ext>
            </a:extLst>
          </p:cNvPr>
          <p:cNvSpPr txBox="1"/>
          <p:nvPr/>
        </p:nvSpPr>
        <p:spPr>
          <a:xfrm>
            <a:off x="230075" y="1589043"/>
            <a:ext cx="5286148" cy="4995598"/>
          </a:xfrm>
          <a:prstGeom prst="rect">
            <a:avLst/>
          </a:prstGeom>
          <a:noFill/>
        </p:spPr>
        <p:txBody>
          <a:bodyPr wrap="square" lIns="0" rtlCol="0">
            <a:spAutoFit/>
          </a:bodyPr>
          <a:lstStyle/>
          <a:p>
            <a:pPr marL="0" marR="0" lvl="0" indent="0" algn="l" defTabSz="1218774" rtl="0" eaLnBrk="1" fontAlgn="auto" latinLnBrk="0" hangingPunct="1">
              <a:lnSpc>
                <a:spcPct val="100000"/>
              </a:lnSpc>
              <a:spcBef>
                <a:spcPts val="0"/>
              </a:spcBef>
              <a:spcAft>
                <a:spcPts val="0"/>
              </a:spcAft>
              <a:buClr>
                <a:prstClr val="white"/>
              </a:buClr>
              <a:buSzTx/>
              <a:buFontTx/>
              <a:buNone/>
              <a:tabLst/>
              <a:defRPr/>
            </a:pPr>
            <a:r>
              <a:rPr kumimoji="0" lang="en-US" sz="1100" b="1"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mn-cs"/>
              </a:rPr>
              <a:t>Challenge</a:t>
            </a:r>
            <a:endParaRPr lang="en-IN" sz="1100">
              <a:solidFill>
                <a:srgbClr val="000000"/>
              </a:solidFill>
              <a:latin typeface="Verdana" panose="020B0604030504040204" pitchFamily="34" charset="0"/>
              <a:ea typeface="Verdana" panose="020B0604030504040204" pitchFamily="34" charset="0"/>
            </a:endParaRPr>
          </a:p>
          <a:p>
            <a:pPr marL="171450" indent="-171450" defTabSz="1218774">
              <a:lnSpc>
                <a:spcPct val="107000"/>
              </a:lnSpc>
              <a:spcBef>
                <a:spcPts val="80"/>
              </a:spcBef>
              <a:buClr>
                <a:srgbClr val="0070AD"/>
              </a:buClr>
              <a:buFont typeface="Wingdings" panose="05000000000000000000" pitchFamily="2" charset="2"/>
              <a:buChar char="§"/>
              <a:defRPr/>
            </a:pPr>
            <a:r>
              <a:rPr lang="en-IN" sz="1100">
                <a:solidFill>
                  <a:srgbClr val="000000"/>
                </a:solidFill>
                <a:latin typeface="Verdana" panose="020B0604030504040204" pitchFamily="34" charset="0"/>
                <a:ea typeface="Verdana" panose="020B0604030504040204" pitchFamily="34" charset="0"/>
              </a:rPr>
              <a:t>Manual entry and routing of Leave Approval Process</a:t>
            </a:r>
          </a:p>
          <a:p>
            <a:pPr marL="171450" indent="-171450" defTabSz="1218774">
              <a:lnSpc>
                <a:spcPct val="107000"/>
              </a:lnSpc>
              <a:spcBef>
                <a:spcPts val="80"/>
              </a:spcBef>
              <a:buClr>
                <a:srgbClr val="0070AD"/>
              </a:buClr>
              <a:buFont typeface="Wingdings" panose="05000000000000000000" pitchFamily="2" charset="2"/>
              <a:buChar char="§"/>
              <a:defRPr/>
            </a:pPr>
            <a:r>
              <a:rPr lang="en-IN" sz="1100">
                <a:solidFill>
                  <a:srgbClr val="000000"/>
                </a:solidFill>
                <a:latin typeface="Verdana" panose="020B0604030504040204" pitchFamily="34" charset="0"/>
                <a:ea typeface="Verdana" panose="020B0604030504040204" pitchFamily="34" charset="0"/>
              </a:rPr>
              <a:t>Lack of visibility into Leave Data</a:t>
            </a:r>
          </a:p>
          <a:p>
            <a:pPr defTabSz="1218774">
              <a:spcBef>
                <a:spcPts val="80"/>
              </a:spcBef>
              <a:buClr>
                <a:srgbClr val="0070AD"/>
              </a:buClr>
              <a:defRPr/>
            </a:pPr>
            <a:endParaRPr kumimoji="0" lang="en-US" sz="1100" b="0"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mn-cs"/>
            </a:endParaRPr>
          </a:p>
          <a:p>
            <a:pPr defTabSz="1218774">
              <a:spcBef>
                <a:spcPts val="80"/>
              </a:spcBef>
              <a:buClr>
                <a:srgbClr val="0070AD"/>
              </a:buClr>
              <a:defRPr/>
            </a:pPr>
            <a:endParaRPr lang="en-US" sz="1100">
              <a:solidFill>
                <a:srgbClr val="000000"/>
              </a:solidFill>
              <a:latin typeface="Verdana" panose="020B0604030504040204" pitchFamily="34" charset="0"/>
              <a:ea typeface="Verdana" panose="020B0604030504040204" pitchFamily="34" charset="0"/>
            </a:endParaRPr>
          </a:p>
          <a:p>
            <a:pPr defTabSz="1218774">
              <a:spcBef>
                <a:spcPts val="80"/>
              </a:spcBef>
              <a:buClr>
                <a:srgbClr val="0070AD"/>
              </a:buClr>
              <a:defRPr/>
            </a:pPr>
            <a:endParaRPr kumimoji="0" lang="en-US" sz="1100" b="0"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mn-cs"/>
            </a:endParaRPr>
          </a:p>
          <a:p>
            <a:pPr marL="0" marR="0" lvl="0" indent="0" algn="l" defTabSz="1218774" rtl="0" eaLnBrk="1" fontAlgn="auto" latinLnBrk="0" hangingPunct="1">
              <a:lnSpc>
                <a:spcPct val="100000"/>
              </a:lnSpc>
              <a:spcBef>
                <a:spcPts val="0"/>
              </a:spcBef>
              <a:spcAft>
                <a:spcPts val="0"/>
              </a:spcAft>
              <a:buClr>
                <a:prstClr val="white"/>
              </a:buClr>
              <a:buSzTx/>
              <a:buFontTx/>
              <a:buNone/>
              <a:tabLst/>
              <a:defRPr/>
            </a:pPr>
            <a:r>
              <a:rPr kumimoji="0" lang="en-US" sz="1100" b="1"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mn-cs"/>
              </a:rPr>
              <a:t>Solution</a:t>
            </a:r>
            <a:endParaRPr lang="en-IN" sz="1100">
              <a:solidFill>
                <a:srgbClr val="000000"/>
              </a:solidFill>
              <a:latin typeface="Verdana" panose="020B0604030504040204" pitchFamily="34" charset="0"/>
              <a:ea typeface="Verdana" panose="020B0604030504040204" pitchFamily="34" charset="0"/>
            </a:endParaRPr>
          </a:p>
          <a:p>
            <a:pPr marL="171450" indent="-171450" defTabSz="1218774">
              <a:lnSpc>
                <a:spcPct val="107000"/>
              </a:lnSpc>
              <a:spcBef>
                <a:spcPts val="80"/>
              </a:spcBef>
              <a:spcAft>
                <a:spcPts val="800"/>
              </a:spcAft>
              <a:buClr>
                <a:srgbClr val="0070AD"/>
              </a:buClr>
              <a:buFont typeface="Wingdings" panose="05000000000000000000" pitchFamily="2" charset="2"/>
              <a:buChar char="§"/>
              <a:defRPr/>
            </a:pPr>
            <a:r>
              <a:rPr lang="en-US" sz="1100">
                <a:solidFill>
                  <a:srgbClr val="000000"/>
                </a:solidFill>
                <a:latin typeface="Verdana" panose="020B0604030504040204" pitchFamily="34" charset="0"/>
                <a:ea typeface="Verdana" panose="020B0604030504040204" pitchFamily="34" charset="0"/>
              </a:rPr>
              <a:t>Provision to create a leave request, data should be saved in back end </a:t>
            </a:r>
            <a:endParaRPr lang="en-IN" sz="1100">
              <a:solidFill>
                <a:srgbClr val="000000"/>
              </a:solidFill>
              <a:latin typeface="Verdana" panose="020B0604030504040204" pitchFamily="34" charset="0"/>
              <a:ea typeface="Verdana" panose="020B0604030504040204" pitchFamily="34" charset="0"/>
            </a:endParaRPr>
          </a:p>
          <a:p>
            <a:pPr marL="171450" indent="-171450" defTabSz="1218774">
              <a:lnSpc>
                <a:spcPct val="107000"/>
              </a:lnSpc>
              <a:spcBef>
                <a:spcPts val="80"/>
              </a:spcBef>
              <a:spcAft>
                <a:spcPts val="800"/>
              </a:spcAft>
              <a:buClr>
                <a:srgbClr val="0070AD"/>
              </a:buClr>
              <a:buFont typeface="Wingdings" panose="05000000000000000000" pitchFamily="2" charset="2"/>
              <a:buChar char="§"/>
              <a:defRPr/>
            </a:pPr>
            <a:r>
              <a:rPr lang="en-US" sz="1100">
                <a:solidFill>
                  <a:srgbClr val="000000"/>
                </a:solidFill>
                <a:latin typeface="Verdana" panose="020B0604030504040204" pitchFamily="34" charset="0"/>
                <a:ea typeface="Verdana" panose="020B0604030504040204" pitchFamily="34" charset="0"/>
              </a:rPr>
              <a:t>Selected approver while creating the leave request should receive the approval request for approve/reject</a:t>
            </a:r>
            <a:endParaRPr lang="en-IN" sz="1100">
              <a:solidFill>
                <a:srgbClr val="000000"/>
              </a:solidFill>
              <a:latin typeface="Verdana" panose="020B0604030504040204" pitchFamily="34" charset="0"/>
              <a:ea typeface="Verdana" panose="020B0604030504040204" pitchFamily="34" charset="0"/>
            </a:endParaRPr>
          </a:p>
          <a:p>
            <a:pPr marL="171450" indent="-171450" defTabSz="1218774">
              <a:lnSpc>
                <a:spcPct val="107000"/>
              </a:lnSpc>
              <a:spcBef>
                <a:spcPts val="80"/>
              </a:spcBef>
              <a:spcAft>
                <a:spcPts val="800"/>
              </a:spcAft>
              <a:buClr>
                <a:srgbClr val="0070AD"/>
              </a:buClr>
              <a:buFont typeface="Wingdings" panose="05000000000000000000" pitchFamily="2" charset="2"/>
              <a:buChar char="§"/>
              <a:defRPr/>
            </a:pPr>
            <a:r>
              <a:rPr lang="en-US" sz="1100">
                <a:solidFill>
                  <a:srgbClr val="000000"/>
                </a:solidFill>
                <a:latin typeface="Verdana" panose="020B0604030504040204" pitchFamily="34" charset="0"/>
                <a:ea typeface="Verdana" panose="020B0604030504040204" pitchFamily="34" charset="0"/>
              </a:rPr>
              <a:t>View screen should be there to show the details for applied leaves along with their status (Pending/Approved/Rejected)</a:t>
            </a:r>
            <a:endParaRPr lang="en-IN" sz="1100">
              <a:solidFill>
                <a:srgbClr val="000000"/>
              </a:solidFill>
              <a:latin typeface="Verdana" panose="020B0604030504040204" pitchFamily="34" charset="0"/>
              <a:ea typeface="Verdana" panose="020B0604030504040204" pitchFamily="34" charset="0"/>
            </a:endParaRPr>
          </a:p>
          <a:p>
            <a:pPr marL="171450" indent="-171450" defTabSz="1218774">
              <a:lnSpc>
                <a:spcPct val="107000"/>
              </a:lnSpc>
              <a:spcBef>
                <a:spcPts val="80"/>
              </a:spcBef>
              <a:spcAft>
                <a:spcPts val="800"/>
              </a:spcAft>
              <a:buClr>
                <a:srgbClr val="0070AD"/>
              </a:buClr>
              <a:buFont typeface="Wingdings" panose="05000000000000000000" pitchFamily="2" charset="2"/>
              <a:buChar char="§"/>
              <a:defRPr/>
            </a:pPr>
            <a:r>
              <a:rPr lang="en-US" sz="1100">
                <a:solidFill>
                  <a:srgbClr val="000000"/>
                </a:solidFill>
                <a:latin typeface="Verdana" panose="020B0604030504040204" pitchFamily="34" charset="0"/>
                <a:ea typeface="Verdana" panose="020B0604030504040204" pitchFamily="34" charset="0"/>
              </a:rPr>
              <a:t>After leave has been applied, Cancellation option should be there</a:t>
            </a:r>
            <a:endParaRPr lang="en-IN" sz="1100">
              <a:solidFill>
                <a:srgbClr val="000000"/>
              </a:solidFill>
              <a:latin typeface="Verdana" panose="020B0604030504040204" pitchFamily="34" charset="0"/>
              <a:ea typeface="Verdana" panose="020B0604030504040204" pitchFamily="34" charset="0"/>
            </a:endParaRPr>
          </a:p>
          <a:p>
            <a:pPr marL="171450" indent="-171450" defTabSz="1218774">
              <a:lnSpc>
                <a:spcPct val="107000"/>
              </a:lnSpc>
              <a:spcBef>
                <a:spcPts val="80"/>
              </a:spcBef>
              <a:spcAft>
                <a:spcPts val="800"/>
              </a:spcAft>
              <a:buClr>
                <a:srgbClr val="0070AD"/>
              </a:buClr>
              <a:buFont typeface="Wingdings" panose="05000000000000000000" pitchFamily="2" charset="2"/>
              <a:buChar char="§"/>
              <a:defRPr/>
            </a:pPr>
            <a:r>
              <a:rPr lang="en-US" sz="1100">
                <a:solidFill>
                  <a:srgbClr val="000000"/>
                </a:solidFill>
                <a:latin typeface="Verdana" panose="020B0604030504040204" pitchFamily="34" charset="0"/>
                <a:ea typeface="Verdana" panose="020B0604030504040204" pitchFamily="34" charset="0"/>
              </a:rPr>
              <a:t>Export functionality should be there to export leaves data</a:t>
            </a:r>
            <a:endParaRPr lang="en-IN" sz="1100">
              <a:solidFill>
                <a:srgbClr val="000000"/>
              </a:solidFill>
              <a:latin typeface="Verdana" panose="020B0604030504040204" pitchFamily="34" charset="0"/>
              <a:ea typeface="Verdana" panose="020B0604030504040204" pitchFamily="34" charset="0"/>
            </a:endParaRPr>
          </a:p>
          <a:p>
            <a:pPr marL="171450" indent="-171450" defTabSz="1218774">
              <a:lnSpc>
                <a:spcPct val="107000"/>
              </a:lnSpc>
              <a:spcBef>
                <a:spcPts val="80"/>
              </a:spcBef>
              <a:spcAft>
                <a:spcPts val="800"/>
              </a:spcAft>
              <a:buClr>
                <a:srgbClr val="0070AD"/>
              </a:buClr>
              <a:buFont typeface="Wingdings" panose="05000000000000000000" pitchFamily="2" charset="2"/>
              <a:buChar char="§"/>
              <a:defRPr/>
            </a:pPr>
            <a:r>
              <a:rPr lang="en-US" sz="1100">
                <a:solidFill>
                  <a:srgbClr val="000000"/>
                </a:solidFill>
                <a:latin typeface="Verdana" panose="020B0604030504040204" pitchFamily="34" charset="0"/>
                <a:ea typeface="Verdana" panose="020B0604030504040204" pitchFamily="34" charset="0"/>
              </a:rPr>
              <a:t>In case of some error occurs in the application, there should be some provision to notify the user (by displaying notification popup/via some email)</a:t>
            </a:r>
            <a:endParaRPr lang="en-IN" sz="1100">
              <a:solidFill>
                <a:srgbClr val="000000"/>
              </a:solidFill>
              <a:latin typeface="Verdana" panose="020B0604030504040204" pitchFamily="34" charset="0"/>
              <a:ea typeface="Verdana" panose="020B0604030504040204" pitchFamily="34" charset="0"/>
            </a:endParaRPr>
          </a:p>
          <a:p>
            <a:pPr marL="171450" indent="-171450" defTabSz="1218774">
              <a:lnSpc>
                <a:spcPct val="107000"/>
              </a:lnSpc>
              <a:spcBef>
                <a:spcPts val="80"/>
              </a:spcBef>
              <a:spcAft>
                <a:spcPts val="800"/>
              </a:spcAft>
              <a:buClr>
                <a:srgbClr val="0070AD"/>
              </a:buClr>
              <a:buFont typeface="Wingdings" panose="05000000000000000000" pitchFamily="2" charset="2"/>
              <a:buChar char="§"/>
              <a:defRPr/>
            </a:pPr>
            <a:endParaRPr lang="en-US" sz="1100">
              <a:solidFill>
                <a:srgbClr val="000000"/>
              </a:solidFill>
              <a:latin typeface="Verdana" panose="020B0604030504040204" pitchFamily="34" charset="0"/>
              <a:ea typeface="Verdana" panose="020B0604030504040204" pitchFamily="34" charset="0"/>
            </a:endParaRPr>
          </a:p>
          <a:p>
            <a:pPr marL="0" marR="0" lvl="0" indent="0" algn="l" defTabSz="1218774" rtl="0" eaLnBrk="1" fontAlgn="auto" latinLnBrk="0" hangingPunct="1">
              <a:lnSpc>
                <a:spcPct val="100000"/>
              </a:lnSpc>
              <a:spcBef>
                <a:spcPts val="0"/>
              </a:spcBef>
              <a:spcAft>
                <a:spcPts val="0"/>
              </a:spcAft>
              <a:buClr>
                <a:prstClr val="white"/>
              </a:buClr>
              <a:buSzTx/>
              <a:buFontTx/>
              <a:buNone/>
              <a:tabLst/>
              <a:defRPr/>
            </a:pPr>
            <a:r>
              <a:rPr lang="en-US" sz="1100" b="1">
                <a:solidFill>
                  <a:srgbClr val="000000"/>
                </a:solidFill>
                <a:latin typeface="Verdana" panose="020B0604030504040204" pitchFamily="34" charset="0"/>
                <a:ea typeface="Verdana" panose="020B0604030504040204" pitchFamily="34" charset="0"/>
              </a:rPr>
              <a:t>Data Source</a:t>
            </a:r>
            <a:endParaRPr kumimoji="0" lang="en-US" sz="1100" b="1"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mn-cs"/>
            </a:endParaRPr>
          </a:p>
          <a:p>
            <a:pPr marL="171450" indent="-171450" defTabSz="1218774">
              <a:spcBef>
                <a:spcPts val="80"/>
              </a:spcBef>
              <a:buClr>
                <a:srgbClr val="0070AD"/>
              </a:buClr>
              <a:buFont typeface="Wingdings" panose="05000000000000000000" pitchFamily="2" charset="2"/>
              <a:buChar char="§"/>
              <a:defRPr/>
            </a:pPr>
            <a:r>
              <a:rPr lang="en-IN" sz="1100">
                <a:solidFill>
                  <a:srgbClr val="000000"/>
                </a:solidFill>
                <a:latin typeface="Verdana" panose="020B0604030504040204" pitchFamily="34" charset="0"/>
                <a:ea typeface="Verdana" panose="020B0604030504040204" pitchFamily="34" charset="0"/>
              </a:rPr>
              <a:t>SharePoint</a:t>
            </a:r>
          </a:p>
          <a:p>
            <a:pPr defTabSz="1218774">
              <a:lnSpc>
                <a:spcPct val="107000"/>
              </a:lnSpc>
              <a:spcBef>
                <a:spcPts val="80"/>
              </a:spcBef>
              <a:spcAft>
                <a:spcPts val="800"/>
              </a:spcAft>
              <a:buClr>
                <a:srgbClr val="0070AD"/>
              </a:buClr>
              <a:defRPr/>
            </a:pPr>
            <a:endParaRPr lang="en-IN" sz="1100">
              <a:solidFill>
                <a:srgbClr val="000000"/>
              </a:solidFill>
              <a:latin typeface="Verdana" panose="020B0604030504040204" pitchFamily="34" charset="0"/>
              <a:ea typeface="Verdana" panose="020B0604030504040204" pitchFamily="34" charset="0"/>
            </a:endParaRPr>
          </a:p>
          <a:p>
            <a:pPr marR="0" lvl="0" algn="l" defTabSz="1218774" rtl="0" eaLnBrk="1" fontAlgn="auto" latinLnBrk="0" hangingPunct="1">
              <a:lnSpc>
                <a:spcPct val="100000"/>
              </a:lnSpc>
              <a:spcBef>
                <a:spcPts val="80"/>
              </a:spcBef>
              <a:spcAft>
                <a:spcPts val="0"/>
              </a:spcAft>
              <a:buClr>
                <a:srgbClr val="0070AD"/>
              </a:buClr>
              <a:buSzTx/>
              <a:tabLst/>
              <a:defRPr/>
            </a:pPr>
            <a:endParaRPr kumimoji="0" lang="en-US" sz="1100" b="0"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mn-cs"/>
            </a:endParaRPr>
          </a:p>
        </p:txBody>
      </p:sp>
      <p:sp>
        <p:nvSpPr>
          <p:cNvPr id="21" name="TextBox 20">
            <a:extLst>
              <a:ext uri="{FF2B5EF4-FFF2-40B4-BE49-F238E27FC236}">
                <a16:creationId xmlns:a16="http://schemas.microsoft.com/office/drawing/2014/main" id="{B3AA87E3-CBDC-4B14-B7B3-8120F1D55DD6}"/>
              </a:ext>
            </a:extLst>
          </p:cNvPr>
          <p:cNvSpPr txBox="1"/>
          <p:nvPr/>
        </p:nvSpPr>
        <p:spPr>
          <a:xfrm>
            <a:off x="230075" y="667953"/>
            <a:ext cx="5286148" cy="910634"/>
          </a:xfrm>
          <a:prstGeom prst="rect">
            <a:avLst/>
          </a:prstGeom>
          <a:noFill/>
        </p:spPr>
        <p:txBody>
          <a:bodyPr wrap="square" lIns="0" rtlCol="0">
            <a:spAutoFit/>
          </a:bodyPr>
          <a:lstStyle>
            <a:defPPr>
              <a:defRPr lang="en-US"/>
            </a:defPPr>
            <a:lvl1pPr algn="just" defTabSz="1218774">
              <a:defRPr sz="1200" b="1">
                <a:latin typeface="Verdana" panose="020B0604030504040204" pitchFamily="34" charset="0"/>
                <a:ea typeface="Verdana" panose="020B0604030504040204" pitchFamily="34" charset="0"/>
              </a:defRPr>
            </a:lvl1pPr>
          </a:lstStyle>
          <a:p>
            <a:pPr marL="171450" indent="-171450" algn="l">
              <a:lnSpc>
                <a:spcPct val="107000"/>
              </a:lnSpc>
              <a:spcBef>
                <a:spcPts val="80"/>
              </a:spcBef>
              <a:spcAft>
                <a:spcPts val="800"/>
              </a:spcAft>
              <a:buClr>
                <a:srgbClr val="0070AD"/>
              </a:buClr>
              <a:buFont typeface="Wingdings" panose="05000000000000000000" pitchFamily="2" charset="2"/>
              <a:buChar char="§"/>
              <a:defRPr/>
            </a:pPr>
            <a:r>
              <a:rPr lang="en-US" sz="1100">
                <a:solidFill>
                  <a:srgbClr val="000000"/>
                </a:solidFill>
              </a:rPr>
              <a:t>Summary</a:t>
            </a:r>
            <a:r>
              <a:rPr lang="en-US" sz="1100" b="0">
                <a:solidFill>
                  <a:srgbClr val="000000"/>
                </a:solidFill>
              </a:rPr>
              <a:t>: A PowerApps and SharePoint based solution for companies to manage leave related data and approval associated (data) for their employees.</a:t>
            </a:r>
            <a:endParaRPr lang="en-IN" sz="1100" b="0">
              <a:solidFill>
                <a:srgbClr val="000000"/>
              </a:solidFill>
            </a:endParaRPr>
          </a:p>
          <a:p>
            <a:pPr>
              <a:lnSpc>
                <a:spcPct val="107000"/>
              </a:lnSpc>
              <a:spcAft>
                <a:spcPts val="800"/>
              </a:spcAft>
            </a:pPr>
            <a:endParaRPr lang="en-IN" sz="1100" b="0">
              <a:solidFill>
                <a:srgbClr val="212529"/>
              </a:solidFill>
              <a:latin typeface="Open Sans" panose="020B0606030504020204" pitchFamily="34" charset="0"/>
              <a:ea typeface="+mn-ea"/>
            </a:endParaRPr>
          </a:p>
        </p:txBody>
      </p:sp>
      <p:sp>
        <p:nvSpPr>
          <p:cNvPr id="3" name="Title 2"/>
          <p:cNvSpPr>
            <a:spLocks noGrp="1"/>
          </p:cNvSpPr>
          <p:nvPr>
            <p:ph type="title"/>
          </p:nvPr>
        </p:nvSpPr>
        <p:spPr>
          <a:xfrm>
            <a:off x="9203" y="346030"/>
            <a:ext cx="5518902" cy="106462"/>
          </a:xfrm>
        </p:spPr>
        <p:txBody>
          <a:bodyPr>
            <a:normAutofit fontScale="90000"/>
          </a:bodyPr>
          <a:lstStyle/>
          <a:p>
            <a:r>
              <a:rPr lang="en-US">
                <a:latin typeface="+mn-lt"/>
              </a:rPr>
              <a:t>Leave Management System</a:t>
            </a:r>
            <a:br>
              <a:rPr lang="en-IN" sz="1800" b="1" kern="0">
                <a:solidFill>
                  <a:srgbClr val="2F5496"/>
                </a:solidFill>
                <a:effectLst/>
                <a:latin typeface="Calibri Light" panose="020F0302020204030204" pitchFamily="34" charset="0"/>
                <a:ea typeface="Times New Roman" panose="02020603050405020304" pitchFamily="18" charset="0"/>
                <a:cs typeface="Times New Roman" panose="02020603050405020304" pitchFamily="18" charset="0"/>
              </a:rPr>
            </a:br>
            <a:endParaRPr lang="en-US">
              <a:solidFill>
                <a:schemeClr val="tx1"/>
              </a:solidFill>
              <a:latin typeface="+mn-lt"/>
            </a:endParaRPr>
          </a:p>
        </p:txBody>
      </p:sp>
      <p:sp>
        <p:nvSpPr>
          <p:cNvPr id="37" name="Line 7">
            <a:extLst>
              <a:ext uri="{FF2B5EF4-FFF2-40B4-BE49-F238E27FC236}">
                <a16:creationId xmlns:a16="http://schemas.microsoft.com/office/drawing/2014/main" id="{879EF856-5619-47F5-9D62-45DC06CF88AB}"/>
              </a:ext>
            </a:extLst>
          </p:cNvPr>
          <p:cNvSpPr>
            <a:spLocks noChangeShapeType="1"/>
          </p:cNvSpPr>
          <p:nvPr/>
        </p:nvSpPr>
        <p:spPr bwMode="gray">
          <a:xfrm>
            <a:off x="11588751" y="6450412"/>
            <a:ext cx="0" cy="319616"/>
          </a:xfrm>
          <a:prstGeom prst="line">
            <a:avLst/>
          </a:prstGeom>
          <a:noFill/>
          <a:ln w="9525">
            <a:solidFill>
              <a:srgbClr val="969696"/>
            </a:solidFill>
            <a:round/>
            <a:headEnd/>
            <a:tailEnd/>
          </a:ln>
          <a:effectLst/>
        </p:spPr>
        <p:txBody>
          <a:bodyPr wrap="none" anchor="ctr"/>
          <a:lstStyle/>
          <a:p>
            <a:pPr marL="0" marR="0" lvl="0" indent="0" algn="l" defTabSz="1088239"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srgbClr val="0070AD"/>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8" name="Text Box 8">
            <a:extLst>
              <a:ext uri="{FF2B5EF4-FFF2-40B4-BE49-F238E27FC236}">
                <a16:creationId xmlns:a16="http://schemas.microsoft.com/office/drawing/2014/main" id="{8F2775FB-E41D-4C41-AB7B-8FA926273B7A}"/>
              </a:ext>
            </a:extLst>
          </p:cNvPr>
          <p:cNvSpPr txBox="1">
            <a:spLocks noChangeArrowheads="1"/>
          </p:cNvSpPr>
          <p:nvPr/>
        </p:nvSpPr>
        <p:spPr bwMode="gray">
          <a:xfrm>
            <a:off x="11588753" y="6448295"/>
            <a:ext cx="603249" cy="323851"/>
          </a:xfrm>
          <a:prstGeom prst="rect">
            <a:avLst/>
          </a:prstGeom>
          <a:noFill/>
          <a:ln w="12700" algn="ctr">
            <a:noFill/>
            <a:miter lim="800000"/>
            <a:headEnd/>
            <a:tailEnd type="none" w="lg" len="lg"/>
          </a:ln>
          <a:effectLst/>
        </p:spPr>
        <p:txBody>
          <a:bodyPr anchor="ctr" anchorCtr="1"/>
          <a:lstStyle/>
          <a:p>
            <a:pPr marL="0" marR="0" lvl="0" indent="0" algn="l" defTabSz="1088239" rtl="0" eaLnBrk="0" fontAlgn="auto" latinLnBrk="0" hangingPunct="0">
              <a:lnSpc>
                <a:spcPct val="85000"/>
              </a:lnSpc>
              <a:spcBef>
                <a:spcPts val="0"/>
              </a:spcBef>
              <a:spcAft>
                <a:spcPts val="0"/>
              </a:spcAft>
              <a:buClrTx/>
              <a:buSzTx/>
              <a:buFontTx/>
              <a:buNone/>
              <a:tabLst/>
              <a:defRPr/>
            </a:pPr>
            <a:fld id="{D8875A08-D8CE-4767-B6E0-EF624296B065}" type="slidenum">
              <a:rPr kumimoji="0" lang="en-US" sz="933" b="0" i="0" u="none" strike="noStrike" kern="1200" cap="none" spc="0" normalizeH="0" baseline="0" noProof="0">
                <a:ln>
                  <a:noFill/>
                </a:ln>
                <a:solidFill>
                  <a:srgbClr val="969696"/>
                </a:solidFill>
                <a:effectLst/>
                <a:uLnTx/>
                <a:uFillTx/>
                <a:latin typeface="Verdana" panose="020B0604030504040204" pitchFamily="34" charset="0"/>
                <a:ea typeface="Verdana" panose="020B0604030504040204" pitchFamily="34" charset="0"/>
                <a:cs typeface="Verdana" panose="020B0604030504040204" pitchFamily="34" charset="0"/>
              </a:rPr>
              <a:pPr marL="0" marR="0" lvl="0" indent="0" algn="l" defTabSz="1088239" rtl="0" eaLnBrk="0" fontAlgn="auto" latinLnBrk="0" hangingPunct="0">
                <a:lnSpc>
                  <a:spcPct val="85000"/>
                </a:lnSpc>
                <a:spcBef>
                  <a:spcPts val="0"/>
                </a:spcBef>
                <a:spcAft>
                  <a:spcPts val="0"/>
                </a:spcAft>
                <a:buClrTx/>
                <a:buSzTx/>
                <a:buFontTx/>
                <a:buNone/>
                <a:tabLst/>
                <a:defRPr/>
              </a:pPr>
              <a:t>6</a:t>
            </a:fld>
            <a:endParaRPr kumimoji="0" lang="en-US" sz="933" b="0" i="0" u="none" strike="noStrike" kern="1200" cap="none" spc="0" normalizeH="0" baseline="0" noProof="0">
              <a:ln>
                <a:noFill/>
              </a:ln>
              <a:solidFill>
                <a:srgbClr val="969696"/>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40811665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heme/theme1.xml><?xml version="1.0" encoding="utf-8"?>
<a:theme xmlns:a="http://schemas.openxmlformats.org/drawingml/2006/main" name="1_NA Cloud Closing Master">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Read-Only]" id="{481730E6-25B6-4D75-84DA-5B2B8325FECA}" vid="{BE94AF23-6DCA-4C88-B7F3-22CE6812C12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62F1545D307DEB448649786669854F8F" ma:contentTypeVersion="4" ma:contentTypeDescription="Create a new document." ma:contentTypeScope="" ma:versionID="e8646701e6784fe6c4cd9310a9b40cf4">
  <xsd:schema xmlns:xsd="http://www.w3.org/2001/XMLSchema" xmlns:xs="http://www.w3.org/2001/XMLSchema" xmlns:p="http://schemas.microsoft.com/office/2006/metadata/properties" xmlns:ns2="b9f2ac06-2821-4086-bf09-45bc5ccee902" xmlns:ns3="896d4156-2f5c-4da1-b7b6-d41976ee4146" targetNamespace="http://schemas.microsoft.com/office/2006/metadata/properties" ma:root="true" ma:fieldsID="728fa7b6c2bb8d1d13c3b8dcb9d4906b" ns2:_="" ns3:_="">
    <xsd:import namespace="b9f2ac06-2821-4086-bf09-45bc5ccee902"/>
    <xsd:import namespace="896d4156-2f5c-4da1-b7b6-d41976ee4146"/>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9f2ac06-2821-4086-bf09-45bc5ccee90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896d4156-2f5c-4da1-b7b6-d41976ee4146"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1E77276-4577-44CE-A1A5-92AC32768667}">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46105A2E-803F-4A1D-A2EA-4A4A74E1DDD3}"/>
</file>

<file path=customXml/itemProps3.xml><?xml version="1.0" encoding="utf-8"?>
<ds:datastoreItem xmlns:ds="http://schemas.openxmlformats.org/officeDocument/2006/customXml" ds:itemID="{55A4D967-FE58-436E-85D1-CB630B1415C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6</Slides>
  <Notes>5</Notes>
  <HiddenSlides>0</HiddenSlides>
  <ScaleCrop>false</ScaleCrop>
  <HeadingPairs>
    <vt:vector size="4" baseType="variant">
      <vt:variant>
        <vt:lpstr>Theme</vt:lpstr>
      </vt:variant>
      <vt:variant>
        <vt:i4>2</vt:i4>
      </vt:variant>
      <vt:variant>
        <vt:lpstr>Slide Titles</vt:lpstr>
      </vt:variant>
      <vt:variant>
        <vt:i4>6</vt:i4>
      </vt:variant>
    </vt:vector>
  </HeadingPairs>
  <TitlesOfParts>
    <vt:vector size="8" baseType="lpstr">
      <vt:lpstr>1_NA Cloud Closing Master</vt:lpstr>
      <vt:lpstr>Office Theme</vt:lpstr>
      <vt:lpstr>Power Apps Training</vt:lpstr>
      <vt:lpstr>Assignments</vt:lpstr>
      <vt:lpstr>Covid Vaccination Survey App  </vt:lpstr>
      <vt:lpstr>Travel Request Approval App  </vt:lpstr>
      <vt:lpstr>Expense Management System </vt:lpstr>
      <vt:lpstr>Leave Management System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Portfolio  Power Platform Learning Path</dc:title>
  <dc:creator>Sebastian, Satheesh</dc:creator>
  <cp:revision>3</cp:revision>
  <dcterms:created xsi:type="dcterms:W3CDTF">2021-03-12T18:39:36Z</dcterms:created>
  <dcterms:modified xsi:type="dcterms:W3CDTF">2022-11-08T06:51: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2F1545D307DEB448649786669854F8F</vt:lpwstr>
  </property>
</Properties>
</file>